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slideLayouts/slideLayout31.xml" ContentType="application/vnd.openxmlformats-officedocument.presentationml.slideLayout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slideLayouts/slideLayout32.xml" ContentType="application/vnd.openxmlformats-officedocument.presentationml.slideLayout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6.xml" ContentType="application/vnd.openxmlformats-officedocument.theme+xml"/>
  <Override PartName="/ppt/tags/tag8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7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8.xml" ContentType="application/vnd.openxmlformats-officedocument.theme+xml"/>
  <Override PartName="/ppt/theme/theme9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071" r:id="rId4"/>
    <p:sldMasterId id="2147484105" r:id="rId5"/>
    <p:sldMasterId id="2147484120" r:id="rId6"/>
    <p:sldMasterId id="2147484137" r:id="rId7"/>
    <p:sldMasterId id="2147484152" r:id="rId8"/>
    <p:sldMasterId id="2147484159" r:id="rId9"/>
    <p:sldMasterId id="2147484174" r:id="rId10"/>
  </p:sldMasterIdLst>
  <p:notesMasterIdLst>
    <p:notesMasterId r:id="rId12"/>
  </p:notesMasterIdLst>
  <p:handoutMasterIdLst>
    <p:handoutMasterId r:id="rId13"/>
  </p:handoutMasterIdLst>
  <p:sldIdLst>
    <p:sldId id="2337" r:id="rId11"/>
  </p:sldIdLst>
  <p:sldSz cx="12192000" cy="6858000"/>
  <p:notesSz cx="6797675" cy="9928225"/>
  <p:custDataLst>
    <p:tags r:id="rId14"/>
  </p:custDataLst>
  <p:defaultTextStyle>
    <a:defPPr>
      <a:defRPr lang="sv-SE"/>
    </a:defPPr>
    <a:lvl1pPr marL="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3749" userDrawn="1">
          <p15:clr>
            <a:srgbClr val="A4A3A4"/>
          </p15:clr>
        </p15:guide>
        <p15:guide id="4" orient="horz" pos="935" userDrawn="1">
          <p15:clr>
            <a:srgbClr val="A4A3A4"/>
          </p15:clr>
        </p15:guide>
        <p15:guide id="5" pos="2343" userDrawn="1">
          <p15:clr>
            <a:srgbClr val="A4A3A4"/>
          </p15:clr>
        </p15:guide>
        <p15:guide id="6" pos="4747" userDrawn="1">
          <p15:clr>
            <a:srgbClr val="A4A3A4"/>
          </p15:clr>
        </p15:guide>
        <p15:guide id="7" orient="horz" pos="663" userDrawn="1">
          <p15:clr>
            <a:srgbClr val="A4A3A4"/>
          </p15:clr>
        </p15:guide>
        <p15:guide id="8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iel Brämhagen" initials="DB" lastIdx="8" clrIdx="0">
    <p:extLst>
      <p:ext uri="{19B8F6BF-5375-455C-9EA6-DF929625EA0E}">
        <p15:presenceInfo xmlns:p15="http://schemas.microsoft.com/office/powerpoint/2012/main" userId="S-1-5-21-105273194-222902984-378935785-8071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005763"/>
    <a:srgbClr val="EA6175"/>
    <a:srgbClr val="E1D1ED"/>
    <a:srgbClr val="5482AB"/>
    <a:srgbClr val="8246AF"/>
    <a:srgbClr val="C7C2BA"/>
    <a:srgbClr val="FFFFFF"/>
    <a:srgbClr val="87A7C4"/>
    <a:srgbClr val="7499B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1BFF1DE-E99D-4167-8EB8-066EFFD398A9}" v="2" dt="2022-01-14T13:38:57.54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6" d="100"/>
          <a:sy n="106" d="100"/>
        </p:scale>
        <p:origin x="756" y="96"/>
      </p:cViewPr>
      <p:guideLst>
        <p:guide pos="3749"/>
        <p:guide orient="horz" pos="935"/>
        <p:guide pos="2343"/>
        <p:guide pos="4747"/>
        <p:guide orient="horz" pos="663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5" Type="http://schemas.openxmlformats.org/officeDocument/2006/relationships/slideMaster" Target="slideMasters/slideMaster2.xml"/><Relationship Id="rId15" Type="http://schemas.openxmlformats.org/officeDocument/2006/relationships/commentAuthors" Target="commentAuthors.xml"/><Relationship Id="rId10" Type="http://schemas.openxmlformats.org/officeDocument/2006/relationships/slideMaster" Target="slideMasters/slideMaster7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arlotta Linse" userId="84874411-97d4-4fac-84ba-52dd9406e8fc" providerId="ADAL" clId="{A1BFF1DE-E99D-4167-8EB8-066EFFD398A9}"/>
    <pc:docChg chg="undo custSel modSld">
      <pc:chgData name="Charlotta Linse" userId="84874411-97d4-4fac-84ba-52dd9406e8fc" providerId="ADAL" clId="{A1BFF1DE-E99D-4167-8EB8-066EFFD398A9}" dt="2022-01-14T13:40:51.979" v="209"/>
      <pc:docMkLst>
        <pc:docMk/>
      </pc:docMkLst>
      <pc:sldChg chg="addSp delSp modSp mod">
        <pc:chgData name="Charlotta Linse" userId="84874411-97d4-4fac-84ba-52dd9406e8fc" providerId="ADAL" clId="{A1BFF1DE-E99D-4167-8EB8-066EFFD398A9}" dt="2022-01-14T13:40:51.979" v="209"/>
        <pc:sldMkLst>
          <pc:docMk/>
          <pc:sldMk cId="2703418143" sldId="2337"/>
        </pc:sldMkLst>
        <pc:spChg chg="add mod">
          <ac:chgData name="Charlotta Linse" userId="84874411-97d4-4fac-84ba-52dd9406e8fc" providerId="ADAL" clId="{A1BFF1DE-E99D-4167-8EB8-066EFFD398A9}" dt="2022-01-14T13:38:57.549" v="86" actId="164"/>
          <ac:spMkLst>
            <pc:docMk/>
            <pc:sldMk cId="2703418143" sldId="2337"/>
            <ac:spMk id="2" creationId="{CD2CCE13-F6DD-4145-87FB-DD01FC557D38}"/>
          </ac:spMkLst>
        </pc:spChg>
        <pc:spChg chg="ord">
          <ac:chgData name="Charlotta Linse" userId="84874411-97d4-4fac-84ba-52dd9406e8fc" providerId="ADAL" clId="{A1BFF1DE-E99D-4167-8EB8-066EFFD398A9}" dt="2022-01-14T13:40:42.591" v="206"/>
          <ac:spMkLst>
            <pc:docMk/>
            <pc:sldMk cId="2703418143" sldId="2337"/>
            <ac:spMk id="3" creationId="{7DE15A06-4021-44C1-89AE-247EF374FABB}"/>
          </ac:spMkLst>
        </pc:spChg>
        <pc:spChg chg="mod ord">
          <ac:chgData name="Charlotta Linse" userId="84874411-97d4-4fac-84ba-52dd9406e8fc" providerId="ADAL" clId="{A1BFF1DE-E99D-4167-8EB8-066EFFD398A9}" dt="2022-01-14T13:38:48.320" v="85" actId="1076"/>
          <ac:spMkLst>
            <pc:docMk/>
            <pc:sldMk cId="2703418143" sldId="2337"/>
            <ac:spMk id="15" creationId="{EBF410AA-1C0A-4ACA-A6E2-172570D6B974}"/>
          </ac:spMkLst>
        </pc:spChg>
        <pc:spChg chg="mod ord">
          <ac:chgData name="Charlotta Linse" userId="84874411-97d4-4fac-84ba-52dd9406e8fc" providerId="ADAL" clId="{A1BFF1DE-E99D-4167-8EB8-066EFFD398A9}" dt="2022-01-14T13:40:48.978" v="207"/>
          <ac:spMkLst>
            <pc:docMk/>
            <pc:sldMk cId="2703418143" sldId="2337"/>
            <ac:spMk id="16" creationId="{07FEAB31-E9E2-497D-97F6-6128F6E2FC3F}"/>
          </ac:spMkLst>
        </pc:spChg>
        <pc:spChg chg="add mod">
          <ac:chgData name="Charlotta Linse" userId="84874411-97d4-4fac-84ba-52dd9406e8fc" providerId="ADAL" clId="{A1BFF1DE-E99D-4167-8EB8-066EFFD398A9}" dt="2022-01-14T13:38:57.549" v="86" actId="164"/>
          <ac:spMkLst>
            <pc:docMk/>
            <pc:sldMk cId="2703418143" sldId="2337"/>
            <ac:spMk id="17" creationId="{EB124FD7-7EBC-42CE-BF86-85D8B301FB87}"/>
          </ac:spMkLst>
        </pc:spChg>
        <pc:spChg chg="mod">
          <ac:chgData name="Charlotta Linse" userId="84874411-97d4-4fac-84ba-52dd9406e8fc" providerId="ADAL" clId="{A1BFF1DE-E99D-4167-8EB8-066EFFD398A9}" dt="2022-01-14T13:38:57.549" v="86" actId="164"/>
          <ac:spMkLst>
            <pc:docMk/>
            <pc:sldMk cId="2703418143" sldId="2337"/>
            <ac:spMk id="18" creationId="{E1056375-97F2-418F-9754-F1864A35B90B}"/>
          </ac:spMkLst>
        </pc:spChg>
        <pc:spChg chg="mod">
          <ac:chgData name="Charlotta Linse" userId="84874411-97d4-4fac-84ba-52dd9406e8fc" providerId="ADAL" clId="{A1BFF1DE-E99D-4167-8EB8-066EFFD398A9}" dt="2022-01-14T13:38:57.549" v="86" actId="164"/>
          <ac:spMkLst>
            <pc:docMk/>
            <pc:sldMk cId="2703418143" sldId="2337"/>
            <ac:spMk id="19" creationId="{2EA0E9FC-84EB-4222-B1B2-B5534C6C81CB}"/>
          </ac:spMkLst>
        </pc:spChg>
        <pc:spChg chg="mod">
          <ac:chgData name="Charlotta Linse" userId="84874411-97d4-4fac-84ba-52dd9406e8fc" providerId="ADAL" clId="{A1BFF1DE-E99D-4167-8EB8-066EFFD398A9}" dt="2022-01-14T13:38:57.549" v="86" actId="164"/>
          <ac:spMkLst>
            <pc:docMk/>
            <pc:sldMk cId="2703418143" sldId="2337"/>
            <ac:spMk id="20" creationId="{2B97940A-5768-45FB-8CBB-3F590CD2D0AB}"/>
          </ac:spMkLst>
        </pc:spChg>
        <pc:grpChg chg="add mod ord">
          <ac:chgData name="Charlotta Linse" userId="84874411-97d4-4fac-84ba-52dd9406e8fc" providerId="ADAL" clId="{A1BFF1DE-E99D-4167-8EB8-066EFFD398A9}" dt="2022-01-14T13:40:51.979" v="209"/>
          <ac:grpSpMkLst>
            <pc:docMk/>
            <pc:sldMk cId="2703418143" sldId="2337"/>
            <ac:grpSpMk id="4" creationId="{3D228431-CF02-4531-9091-59F48D0994E0}"/>
          </ac:grpSpMkLst>
        </pc:grpChg>
        <pc:graphicFrameChg chg="del mod modVis">
          <ac:chgData name="Charlotta Linse" userId="84874411-97d4-4fac-84ba-52dd9406e8fc" providerId="ADAL" clId="{A1BFF1DE-E99D-4167-8EB8-066EFFD398A9}" dt="2022-01-14T13:40:32.648" v="203" actId="478"/>
          <ac:graphicFrameMkLst>
            <pc:docMk/>
            <pc:sldMk cId="2703418143" sldId="2337"/>
            <ac:graphicFrameMk id="5" creationId="{8447105C-F0A7-4B2E-885A-558ECA30EF09}"/>
          </ac:graphicFrameMkLst>
        </pc:graphicFrameChg>
        <pc:graphicFrameChg chg="mod">
          <ac:chgData name="Charlotta Linse" userId="84874411-97d4-4fac-84ba-52dd9406e8fc" providerId="ADAL" clId="{A1BFF1DE-E99D-4167-8EB8-066EFFD398A9}" dt="2022-01-14T13:34:40.849" v="22" actId="1036"/>
          <ac:graphicFrameMkLst>
            <pc:docMk/>
            <pc:sldMk cId="2703418143" sldId="2337"/>
            <ac:graphicFrameMk id="12" creationId="{61FB367A-CB00-4040-842C-DED2331A890B}"/>
          </ac:graphicFrameMkLst>
        </pc:graphicFrameChg>
        <pc:picChg chg="mod">
          <ac:chgData name="Charlotta Linse" userId="84874411-97d4-4fac-84ba-52dd9406e8fc" providerId="ADAL" clId="{A1BFF1DE-E99D-4167-8EB8-066EFFD398A9}" dt="2022-01-14T13:38:57.549" v="86" actId="164"/>
          <ac:picMkLst>
            <pc:docMk/>
            <pc:sldMk cId="2703418143" sldId="2337"/>
            <ac:picMk id="13" creationId="{ECD9D812-22C9-4CCB-B67B-CB2BA19D6F57}"/>
          </ac:picMkLst>
        </pc:picChg>
        <pc:picChg chg="mod">
          <ac:chgData name="Charlotta Linse" userId="84874411-97d4-4fac-84ba-52dd9406e8fc" providerId="ADAL" clId="{A1BFF1DE-E99D-4167-8EB8-066EFFD398A9}" dt="2022-01-14T13:38:57.549" v="86" actId="164"/>
          <ac:picMkLst>
            <pc:docMk/>
            <pc:sldMk cId="2703418143" sldId="2337"/>
            <ac:picMk id="14" creationId="{5CC37981-2366-468C-B061-AB0442A7BB50}"/>
          </ac:picMkLst>
        </pc:picChg>
        <pc:picChg chg="mod">
          <ac:chgData name="Charlotta Linse" userId="84874411-97d4-4fac-84ba-52dd9406e8fc" providerId="ADAL" clId="{A1BFF1DE-E99D-4167-8EB8-066EFFD398A9}" dt="2022-01-14T13:38:57.549" v="86" actId="164"/>
          <ac:picMkLst>
            <pc:docMk/>
            <pc:sldMk cId="2703418143" sldId="2337"/>
            <ac:picMk id="21" creationId="{869A1287-744B-41B9-AA7C-066510BD428A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60" cy="498135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2" y="1"/>
            <a:ext cx="2945660" cy="498135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r">
              <a:defRPr sz="1200"/>
            </a:lvl1pPr>
          </a:lstStyle>
          <a:p>
            <a:fld id="{5E611A07-F460-4779-A58F-0876A5D36407}" type="datetimeFigureOut">
              <a:rPr lang="sv-SE" smtClean="0"/>
              <a:t>2022-01-14</a:t>
            </a:fld>
            <a:endParaRPr lang="sv-S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0092"/>
            <a:ext cx="2945660" cy="498134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2" y="9430092"/>
            <a:ext cx="2945660" cy="498134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r">
              <a:defRPr sz="1200"/>
            </a:lvl1pPr>
          </a:lstStyle>
          <a:p>
            <a:fld id="{7B9851F3-6F55-456E-A60B-A4F862FDE70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391339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60" cy="498135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50442" y="1"/>
            <a:ext cx="2945660" cy="498135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r">
              <a:defRPr sz="1200"/>
            </a:lvl1pPr>
          </a:lstStyle>
          <a:p>
            <a:fld id="{531AC516-91A2-CC44-9418-EB7D5EF4C310}" type="datetimeFigureOut">
              <a:rPr lang="sv-SE" smtClean="0"/>
              <a:t>2022-01-14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1425"/>
            <a:ext cx="59563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17" tIns="46058" rIns="92117" bIns="46058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79768" y="4777959"/>
            <a:ext cx="5438140" cy="3909239"/>
          </a:xfrm>
          <a:prstGeom prst="rect">
            <a:avLst/>
          </a:prstGeom>
        </p:spPr>
        <p:txBody>
          <a:bodyPr vert="horz" lIns="92117" tIns="46058" rIns="92117" bIns="46058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9430092"/>
            <a:ext cx="2945660" cy="498134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50442" y="9430092"/>
            <a:ext cx="2945660" cy="498134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r">
              <a:defRPr sz="1200"/>
            </a:lvl1pPr>
          </a:lstStyle>
          <a:p>
            <a:fld id="{CE0D5E75-B264-C74D-B55A-E6F957AB1FDA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655886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oleObject" Target="../embeddings/oleObject9.bin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0.jpeg"/><Relationship Id="rId5" Type="http://schemas.openxmlformats.org/officeDocument/2006/relationships/image" Target="../media/image9.emf"/><Relationship Id="rId4" Type="http://schemas.openxmlformats.org/officeDocument/2006/relationships/oleObject" Target="../embeddings/oleObject8.bin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Inled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–Johnny Appleseed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874115" y="4538638"/>
            <a:ext cx="5206608" cy="51296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>
              <a:spcBef>
                <a:spcPts val="0"/>
              </a:spcBef>
              <a:buSzTx/>
              <a:buNone/>
              <a:defRPr lang="sv-SE" dirty="0">
                <a:cs typeface="Arial" panose="020B0604020202020204" pitchFamily="34" charset="0"/>
              </a:defRPr>
            </a:lvl1pPr>
          </a:lstStyle>
          <a:p>
            <a:r>
              <a:rPr lang="sv-SE">
                <a:latin typeface="+mn-lt"/>
                <a:cs typeface="Arial" panose="020B0604020202020204" pitchFamily="34" charset="0"/>
              </a:rPr>
              <a:t>Jane Doe Smith</a:t>
            </a:r>
          </a:p>
        </p:txBody>
      </p:sp>
      <p:sp>
        <p:nvSpPr>
          <p:cNvPr id="94" name="“Type a quote here.”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853222" y="1694729"/>
            <a:ext cx="7796705" cy="1795363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SzTx/>
              <a:buNone/>
              <a:defRPr lang="sv-SE" sz="5500" dirty="0">
                <a:cs typeface="Arial" panose="020B0604020202020204" pitchFamily="34" charset="0"/>
              </a:defRPr>
            </a:lvl1pPr>
          </a:lstStyle>
          <a:p>
            <a:r>
              <a:rPr lang="sv-SE">
                <a:latin typeface="+mj-lt"/>
                <a:cs typeface="Arial" panose="020B0604020202020204" pitchFamily="34" charset="0"/>
              </a:rPr>
              <a:t>En längre vänsterställd rubrik på två rader</a:t>
            </a:r>
          </a:p>
        </p:txBody>
      </p:sp>
      <p:sp>
        <p:nvSpPr>
          <p:cNvPr id="8" name="Line">
            <a:extLst>
              <a:ext uri="{FF2B5EF4-FFF2-40B4-BE49-F238E27FC236}">
                <a16:creationId xmlns:a16="http://schemas.microsoft.com/office/drawing/2014/main" id="{A789D315-9205-4977-ACEC-06FBEF7C276A}"/>
              </a:ext>
            </a:extLst>
          </p:cNvPr>
          <p:cNvSpPr/>
          <p:nvPr/>
        </p:nvSpPr>
        <p:spPr>
          <a:xfrm>
            <a:off x="939258" y="4056176"/>
            <a:ext cx="570566" cy="0"/>
          </a:xfrm>
          <a:prstGeom prst="line">
            <a:avLst/>
          </a:prstGeom>
          <a:ln w="114300">
            <a:solidFill>
              <a:srgbClr val="FFFFFF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latin typeface="+mj-lt"/>
            </a:endParaRPr>
          </a:p>
        </p:txBody>
      </p:sp>
      <p:sp>
        <p:nvSpPr>
          <p:cNvPr id="9" name="© www.partsradet.se">
            <a:extLst>
              <a:ext uri="{FF2B5EF4-FFF2-40B4-BE49-F238E27FC236}">
                <a16:creationId xmlns:a16="http://schemas.microsoft.com/office/drawing/2014/main" id="{B8B2AE36-23EE-4F4C-8585-ADA092848124}"/>
              </a:ext>
            </a:extLst>
          </p:cNvPr>
          <p:cNvSpPr txBox="1"/>
          <p:nvPr/>
        </p:nvSpPr>
        <p:spPr>
          <a:xfrm>
            <a:off x="934142" y="6094017"/>
            <a:ext cx="989053" cy="17197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 algn="l">
              <a:lnSpc>
                <a:spcPct val="120000"/>
              </a:lnSpc>
              <a:defRPr sz="1400" b="0" cap="all">
                <a:solidFill>
                  <a:srgbClr val="FFFFFF"/>
                </a:solidFill>
                <a:latin typeface="Euclid Circular A Regular"/>
                <a:ea typeface="Euclid Circular A Regular"/>
                <a:cs typeface="Euclid Circular A Regular"/>
                <a:sym typeface="Euclid Circular A Regular"/>
              </a:defRPr>
            </a:lvl1pPr>
          </a:lstStyle>
          <a:p>
            <a:r>
              <a:rPr sz="700">
                <a:latin typeface="+mn-lt"/>
                <a:cs typeface="Arial" panose="020B0604020202020204" pitchFamily="34" charset="0"/>
              </a:rPr>
              <a:t>© www.partsradet.se</a:t>
            </a:r>
          </a:p>
        </p:txBody>
      </p:sp>
    </p:spTree>
    <p:extLst>
      <p:ext uri="{BB962C8B-B14F-4D97-AF65-F5344CB8AC3E}">
        <p14:creationId xmlns:p14="http://schemas.microsoft.com/office/powerpoint/2010/main" val="3828295918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Innehållsmall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–Johnny Appleseed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2585057" y="3822994"/>
            <a:ext cx="7021887" cy="1487587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3000" dirty="0"/>
            </a:lvl1pPr>
          </a:lstStyle>
          <a:p>
            <a:r>
              <a:rPr lang="sv-SE">
                <a:latin typeface="+mn-lt"/>
              </a:rPr>
              <a:t>Centrerad undertext i lite större storlek när man behöver att ett viktigt budskap ska ta lite extra plats.</a:t>
            </a:r>
          </a:p>
        </p:txBody>
      </p:sp>
      <p:sp>
        <p:nvSpPr>
          <p:cNvPr id="94" name="“Type a quote here.”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2523000" y="1320760"/>
            <a:ext cx="7146000" cy="1333698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4000" dirty="0"/>
            </a:lvl1pPr>
          </a:lstStyle>
          <a:p>
            <a:r>
              <a:rPr lang="sv-SE">
                <a:latin typeface="+mj-lt"/>
              </a:rPr>
              <a:t>En längre centrerad rubrik med ett streck som bryter av </a:t>
            </a:r>
          </a:p>
        </p:txBody>
      </p:sp>
      <p:sp>
        <p:nvSpPr>
          <p:cNvPr id="5" name="Line">
            <a:extLst>
              <a:ext uri="{FF2B5EF4-FFF2-40B4-BE49-F238E27FC236}">
                <a16:creationId xmlns:a16="http://schemas.microsoft.com/office/drawing/2014/main" id="{A9A1B675-00EC-4E85-B2E8-220BB0FDE45B}"/>
              </a:ext>
            </a:extLst>
          </p:cNvPr>
          <p:cNvSpPr/>
          <p:nvPr/>
        </p:nvSpPr>
        <p:spPr>
          <a:xfrm>
            <a:off x="5810716" y="3255902"/>
            <a:ext cx="570566" cy="0"/>
          </a:xfrm>
          <a:prstGeom prst="line">
            <a:avLst/>
          </a:prstGeom>
          <a:ln w="114300">
            <a:solidFill>
              <a:srgbClr val="FFFFFF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latin typeface="+mj-lt"/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6B63282-6719-44F9-BBB7-C74E60F09B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7"/>
            <a:ext cx="384644" cy="28166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8114D91-4524-0541-9CCE-86E92887A391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40220999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ehållsmall 7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artsradet_national_museum__DSF0863.jpg" descr="Partsradet_national_museum__DSF0863.jpg">
            <a:extLst>
              <a:ext uri="{FF2B5EF4-FFF2-40B4-BE49-F238E27FC236}">
                <a16:creationId xmlns:a16="http://schemas.microsoft.com/office/drawing/2014/main" id="{5D326849-9AB8-47B1-A59D-9730F8C783F8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9927"/>
          </a:blip>
          <a:stretch>
            <a:fillRect/>
          </a:stretch>
        </p:blipFill>
        <p:spPr>
          <a:xfrm>
            <a:off x="1" y="0"/>
            <a:ext cx="12202847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94" name="“Type a quote here.”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1745638" y="2488914"/>
            <a:ext cx="8700725" cy="194925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4000" dirty="0"/>
            </a:lvl1pPr>
          </a:lstStyle>
          <a:p>
            <a:r>
              <a:rPr lang="sv-SE">
                <a:latin typeface="+mj-lt"/>
              </a:rPr>
              <a:t>En centrerad längre rubrik på flera rader med en nedtonad bakgrundsbild när man vill ha en </a:t>
            </a:r>
            <a:r>
              <a:rPr lang="sv-SE" err="1">
                <a:latin typeface="+mj-lt"/>
              </a:rPr>
              <a:t>slide</a:t>
            </a:r>
            <a:r>
              <a:rPr lang="sv-SE">
                <a:latin typeface="+mj-lt"/>
              </a:rPr>
              <a:t> som bryter av lite.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6ECF341-DD30-40AF-AFEE-041F1321A1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7"/>
            <a:ext cx="384644" cy="28166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8114D91-4524-0541-9CCE-86E92887A391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250728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dslin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876891" y="811402"/>
            <a:ext cx="8078525" cy="1143000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000"/>
            </a:lvl1pPr>
          </a:lstStyle>
          <a:p>
            <a:r>
              <a:rPr lang="sv-SE"/>
              <a:t>En lång vänsterställd rubrik på två rader och tidslinje under</a:t>
            </a:r>
            <a:endParaRPr/>
          </a:p>
        </p:txBody>
      </p:sp>
      <p:sp>
        <p:nvSpPr>
          <p:cNvPr id="7" name="Line">
            <a:extLst>
              <a:ext uri="{FF2B5EF4-FFF2-40B4-BE49-F238E27FC236}">
                <a16:creationId xmlns:a16="http://schemas.microsoft.com/office/drawing/2014/main" id="{89D347E3-0012-4A0E-86C4-A6973FD29E30}"/>
              </a:ext>
            </a:extLst>
          </p:cNvPr>
          <p:cNvSpPr/>
          <p:nvPr/>
        </p:nvSpPr>
        <p:spPr>
          <a:xfrm>
            <a:off x="938118" y="3589706"/>
            <a:ext cx="10315764" cy="1"/>
          </a:xfrm>
          <a:prstGeom prst="line">
            <a:avLst/>
          </a:prstGeom>
          <a:ln w="25400">
            <a:solidFill>
              <a:schemeClr val="tx1"/>
            </a:solidFill>
            <a:custDash>
              <a:ds d="200000" sp="200000"/>
            </a:custDash>
            <a:miter lim="400000"/>
            <a:tailEnd type="triangle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ln>
                <a:solidFill>
                  <a:schemeClr val="tx1"/>
                </a:solidFill>
              </a:ln>
              <a:latin typeface="+mn-l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D63BB9-63D0-402D-B7F7-5DD70CB7953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38118" y="4037222"/>
            <a:ext cx="1555750" cy="1492309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5pPr>
              <a:defRPr/>
            </a:lvl5pPr>
          </a:lstStyle>
          <a:p>
            <a:pPr lvl="0"/>
            <a:r>
              <a:rPr lang="sv-SE" noProof="0"/>
              <a:t>Text till tidslinj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2A77119-29DA-4683-BCD0-D82825EBDD6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858123" y="4037222"/>
            <a:ext cx="1555750" cy="1492309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5pPr>
              <a:defRPr/>
            </a:lvl5pPr>
          </a:lstStyle>
          <a:p>
            <a:pPr lvl="0"/>
            <a:r>
              <a:rPr lang="sv-SE" noProof="0"/>
              <a:t>Text till tidslinj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61E8B5D-7D2C-44FF-B4BA-DA763FD75C51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778127" y="4037222"/>
            <a:ext cx="1555750" cy="1492309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5pPr>
              <a:defRPr/>
            </a:lvl5pPr>
          </a:lstStyle>
          <a:p>
            <a:pPr lvl="0"/>
            <a:r>
              <a:rPr lang="sv-SE" noProof="0"/>
              <a:t>Text till tidslinj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AC2AEEE4-A467-4015-8B76-19A098BE56F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698132" y="4037222"/>
            <a:ext cx="1555750" cy="1492309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5pPr>
              <a:defRPr/>
            </a:lvl5pPr>
          </a:lstStyle>
          <a:p>
            <a:pPr lvl="0"/>
            <a:r>
              <a:rPr lang="sv-SE" noProof="0"/>
              <a:t>Text till tidslinje</a:t>
            </a:r>
          </a:p>
        </p:txBody>
      </p:sp>
      <p:sp>
        <p:nvSpPr>
          <p:cNvPr id="25" name="Circle">
            <a:extLst>
              <a:ext uri="{FF2B5EF4-FFF2-40B4-BE49-F238E27FC236}">
                <a16:creationId xmlns:a16="http://schemas.microsoft.com/office/drawing/2014/main" id="{8FFDA874-5DBF-409C-A8F1-7103A28852E4}"/>
              </a:ext>
            </a:extLst>
          </p:cNvPr>
          <p:cNvSpPr/>
          <p:nvPr/>
        </p:nvSpPr>
        <p:spPr>
          <a:xfrm>
            <a:off x="939258" y="3496412"/>
            <a:ext cx="186588" cy="186588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F6F12E13-B40B-4398-A53B-6E9DF61E33D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9257" y="2975745"/>
            <a:ext cx="1555200" cy="292550"/>
          </a:xfrm>
        </p:spPr>
        <p:txBody>
          <a:bodyPr anchor="b">
            <a:normAutofit/>
          </a:bodyPr>
          <a:lstStyle>
            <a:lvl1pPr marL="0" indent="0">
              <a:spcBef>
                <a:spcPts val="50"/>
              </a:spcBef>
              <a:buNone/>
              <a:defRPr sz="1400"/>
            </a:lvl1pPr>
          </a:lstStyle>
          <a:p>
            <a:pPr lvl="0"/>
            <a:r>
              <a:rPr lang="en-US"/>
              <a:t>Steg 1</a:t>
            </a:r>
            <a:endParaRPr lang="sv-SE"/>
          </a:p>
        </p:txBody>
      </p:sp>
      <p:sp>
        <p:nvSpPr>
          <p:cNvPr id="28" name="Text Placeholder 22">
            <a:extLst>
              <a:ext uri="{FF2B5EF4-FFF2-40B4-BE49-F238E27FC236}">
                <a16:creationId xmlns:a16="http://schemas.microsoft.com/office/drawing/2014/main" id="{C041049A-24DC-49FA-98C0-90559F634A1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58122" y="2975744"/>
            <a:ext cx="1555200" cy="292550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1400"/>
            </a:lvl1pPr>
          </a:lstStyle>
          <a:p>
            <a:pPr lvl="0"/>
            <a:r>
              <a:rPr lang="en-US"/>
              <a:t>Steg 2</a:t>
            </a:r>
          </a:p>
        </p:txBody>
      </p:sp>
      <p:sp>
        <p:nvSpPr>
          <p:cNvPr id="29" name="Text Placeholder 22">
            <a:extLst>
              <a:ext uri="{FF2B5EF4-FFF2-40B4-BE49-F238E27FC236}">
                <a16:creationId xmlns:a16="http://schemas.microsoft.com/office/drawing/2014/main" id="{ABDBA522-6A4F-46F4-B015-A48AB50288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986" y="2975744"/>
            <a:ext cx="1555200" cy="292550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1400"/>
            </a:lvl1pPr>
          </a:lstStyle>
          <a:p>
            <a:pPr lvl="0"/>
            <a:r>
              <a:rPr lang="en-US"/>
              <a:t>Steg 3</a:t>
            </a:r>
            <a:endParaRPr lang="sv-SE"/>
          </a:p>
        </p:txBody>
      </p:sp>
      <p:sp>
        <p:nvSpPr>
          <p:cNvPr id="30" name="Text Placeholder 22">
            <a:extLst>
              <a:ext uri="{FF2B5EF4-FFF2-40B4-BE49-F238E27FC236}">
                <a16:creationId xmlns:a16="http://schemas.microsoft.com/office/drawing/2014/main" id="{828B8332-A76E-4C09-94B2-941DAB3C190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695851" y="2975743"/>
            <a:ext cx="1555200" cy="292550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1400"/>
            </a:lvl1pPr>
          </a:lstStyle>
          <a:p>
            <a:pPr lvl="0"/>
            <a:r>
              <a:rPr lang="en-US"/>
              <a:t>Steg 4</a:t>
            </a:r>
            <a:endParaRPr lang="sv-SE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2EF631A2-0DB8-4BD8-BED7-AC0EA6E70F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7"/>
            <a:ext cx="384644" cy="28166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8114D91-4524-0541-9CCE-86E92887A391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40757169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–Johnny Appleseed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2945804" y="5396214"/>
            <a:ext cx="6325059" cy="79367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ctr" defTabSz="228600">
              <a:lnSpc>
                <a:spcPct val="130000"/>
              </a:lnSpc>
              <a:spcBef>
                <a:spcPts val="0"/>
              </a:spcBef>
              <a:buSzTx/>
              <a:buNone/>
              <a:defRPr lang="sv-SE" sz="1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lvl1pPr>
          </a:lstStyle>
          <a:p>
            <a:pPr defTabSz="457200">
              <a:lnSpc>
                <a:spcPct val="130000"/>
              </a:lnSpc>
              <a:defRPr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800">
                <a:latin typeface="+mn-lt"/>
              </a:rPr>
              <a:t>Jane Doe Smith</a:t>
            </a:r>
          </a:p>
          <a:p>
            <a:pPr defTabSz="457200">
              <a:lnSpc>
                <a:spcPct val="130000"/>
              </a:lnSpc>
              <a:defRPr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800">
                <a:latin typeface="+mn-lt"/>
              </a:rPr>
              <a:t>Arbetslivsforskare &amp; Föreläsar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D81E941-88DB-463E-8904-3197058A1C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7"/>
            <a:ext cx="384644" cy="28166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8114D91-4524-0541-9CCE-86E92887A391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7278877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0C83AC8-D906-4FCF-B545-4763F7BB56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7"/>
            <a:ext cx="384644" cy="28166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8114D91-4524-0541-9CCE-86E92887A391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20813806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ärgko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ruta 2">
            <a:extLst>
              <a:ext uri="{FF2B5EF4-FFF2-40B4-BE49-F238E27FC236}">
                <a16:creationId xmlns:a16="http://schemas.microsoft.com/office/drawing/2014/main" id="{B0566F99-6542-4734-A895-CE3FB1E380E3}"/>
              </a:ext>
            </a:extLst>
          </p:cNvPr>
          <p:cNvSpPr txBox="1"/>
          <p:nvPr/>
        </p:nvSpPr>
        <p:spPr>
          <a:xfrm>
            <a:off x="975952" y="731280"/>
            <a:ext cx="1832018" cy="11592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sv-SE" sz="2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Euclid Circular A SemiBold" panose="020B0704000000000000" pitchFamily="34" charset="0"/>
                <a:cs typeface="Arial" panose="020B0604020202020204" pitchFamily="34" charset="0"/>
                <a:sym typeface="Helvetica Neue"/>
              </a:rPr>
              <a:t>Färgpalett</a:t>
            </a:r>
          </a:p>
          <a:p>
            <a:pPr marL="0" marR="0" indent="0" algn="l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sv-SE" sz="1600" b="0">
                <a:latin typeface="+mn-lt"/>
                <a:ea typeface="Euclid Circular A" panose="020B0504000000000000" pitchFamily="34" charset="0"/>
                <a:cs typeface="Arial" panose="020B0604020202020204" pitchFamily="34" charset="0"/>
              </a:rPr>
              <a:t>Ändra färg på en mallsida? Kopiera #-färgkoden här.</a:t>
            </a:r>
            <a:endParaRPr kumimoji="0" lang="sv-SE" sz="1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Euclid Circular A" panose="020B0504000000000000" pitchFamily="34" charset="0"/>
              <a:cs typeface="Arial" panose="020B0604020202020204" pitchFamily="34" charset="0"/>
              <a:sym typeface="Helvetica Neue"/>
            </a:endParaRPr>
          </a:p>
        </p:txBody>
      </p:sp>
      <p:grpSp>
        <p:nvGrpSpPr>
          <p:cNvPr id="5" name="Grupp 39">
            <a:extLst>
              <a:ext uri="{FF2B5EF4-FFF2-40B4-BE49-F238E27FC236}">
                <a16:creationId xmlns:a16="http://schemas.microsoft.com/office/drawing/2014/main" id="{BDFF3D81-C5AD-485E-AFE0-E20E3E002836}"/>
              </a:ext>
            </a:extLst>
          </p:cNvPr>
          <p:cNvGrpSpPr/>
          <p:nvPr/>
        </p:nvGrpSpPr>
        <p:grpSpPr>
          <a:xfrm>
            <a:off x="944880" y="1037144"/>
            <a:ext cx="10302240" cy="4869438"/>
            <a:chOff x="1889760" y="2074288"/>
            <a:chExt cx="20604480" cy="9738875"/>
          </a:xfrm>
        </p:grpSpPr>
        <p:sp>
          <p:nvSpPr>
            <p:cNvPr id="6" name="Rektangel 42">
              <a:extLst>
                <a:ext uri="{FF2B5EF4-FFF2-40B4-BE49-F238E27FC236}">
                  <a16:creationId xmlns:a16="http://schemas.microsoft.com/office/drawing/2014/main" id="{E3C86491-142E-48D9-81F1-164AD28AF0EF}"/>
                </a:ext>
              </a:extLst>
            </p:cNvPr>
            <p:cNvSpPr/>
            <p:nvPr/>
          </p:nvSpPr>
          <p:spPr>
            <a:xfrm>
              <a:off x="6160770" y="2576990"/>
              <a:ext cx="3417570" cy="492442"/>
            </a:xfrm>
            <a:prstGeom prst="rect">
              <a:avLst/>
            </a:prstGeom>
            <a:solidFill>
              <a:srgbClr val="27234A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7" name="textruta 43">
              <a:extLst>
                <a:ext uri="{FF2B5EF4-FFF2-40B4-BE49-F238E27FC236}">
                  <a16:creationId xmlns:a16="http://schemas.microsoft.com/office/drawing/2014/main" id="{C5AB0D60-4242-4C9C-B7BA-A0D421B3E793}"/>
                </a:ext>
              </a:extLst>
            </p:cNvPr>
            <p:cNvSpPr txBox="1"/>
            <p:nvPr/>
          </p:nvSpPr>
          <p:spPr>
            <a:xfrm>
              <a:off x="6863716" y="2074288"/>
              <a:ext cx="2011680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Nattblå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#27234A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96 94 36 40</a:t>
              </a:r>
            </a:p>
          </p:txBody>
        </p:sp>
        <p:sp>
          <p:nvSpPr>
            <p:cNvPr id="8" name="Rektangel 44">
              <a:extLst>
                <a:ext uri="{FF2B5EF4-FFF2-40B4-BE49-F238E27FC236}">
                  <a16:creationId xmlns:a16="http://schemas.microsoft.com/office/drawing/2014/main" id="{93160D2A-5760-4A7C-9C61-B174C1BEFC22}"/>
                </a:ext>
              </a:extLst>
            </p:cNvPr>
            <p:cNvSpPr/>
            <p:nvPr/>
          </p:nvSpPr>
          <p:spPr>
            <a:xfrm>
              <a:off x="19050000" y="2576990"/>
              <a:ext cx="3444240" cy="492442"/>
            </a:xfrm>
            <a:prstGeom prst="rect">
              <a:avLst/>
            </a:prstGeom>
            <a:solidFill>
              <a:srgbClr val="4D345F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9" name="textruta 45">
              <a:extLst>
                <a:ext uri="{FF2B5EF4-FFF2-40B4-BE49-F238E27FC236}">
                  <a16:creationId xmlns:a16="http://schemas.microsoft.com/office/drawing/2014/main" id="{6AB83EAF-153C-45E5-8029-AB8C0BBBA721}"/>
                </a:ext>
              </a:extLst>
            </p:cNvPr>
            <p:cNvSpPr txBox="1"/>
            <p:nvPr/>
          </p:nvSpPr>
          <p:spPr>
            <a:xfrm>
              <a:off x="19785330" y="2074288"/>
              <a:ext cx="2011680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Djuplila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#4D345F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78 85 32 25</a:t>
              </a:r>
            </a:p>
          </p:txBody>
        </p:sp>
        <p:sp>
          <p:nvSpPr>
            <p:cNvPr id="10" name="Rektangel 46">
              <a:extLst>
                <a:ext uri="{FF2B5EF4-FFF2-40B4-BE49-F238E27FC236}">
                  <a16:creationId xmlns:a16="http://schemas.microsoft.com/office/drawing/2014/main" id="{4536024D-839A-4DD7-81D9-4BFA355E8AF8}"/>
                </a:ext>
              </a:extLst>
            </p:cNvPr>
            <p:cNvSpPr/>
            <p:nvPr/>
          </p:nvSpPr>
          <p:spPr>
            <a:xfrm>
              <a:off x="10462260" y="2576990"/>
              <a:ext cx="3417570" cy="492442"/>
            </a:xfrm>
            <a:prstGeom prst="rect">
              <a:avLst/>
            </a:prstGeom>
            <a:solidFill>
              <a:srgbClr val="33336B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11" name="textruta 47">
              <a:extLst>
                <a:ext uri="{FF2B5EF4-FFF2-40B4-BE49-F238E27FC236}">
                  <a16:creationId xmlns:a16="http://schemas.microsoft.com/office/drawing/2014/main" id="{FFECF094-93E7-436C-9BD2-F15CB9F3C8B0}"/>
                </a:ext>
              </a:extLst>
            </p:cNvPr>
            <p:cNvSpPr txBox="1"/>
            <p:nvPr/>
          </p:nvSpPr>
          <p:spPr>
            <a:xfrm>
              <a:off x="10980420" y="2074288"/>
              <a:ext cx="2479350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Skymningsblå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#33336b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95 89 25 14</a:t>
              </a:r>
            </a:p>
          </p:txBody>
        </p:sp>
        <p:sp>
          <p:nvSpPr>
            <p:cNvPr id="12" name="Rektangel 48">
              <a:extLst>
                <a:ext uri="{FF2B5EF4-FFF2-40B4-BE49-F238E27FC236}">
                  <a16:creationId xmlns:a16="http://schemas.microsoft.com/office/drawing/2014/main" id="{83394ADD-83F4-4707-8FDA-9C4854889A89}"/>
                </a:ext>
              </a:extLst>
            </p:cNvPr>
            <p:cNvSpPr/>
            <p:nvPr/>
          </p:nvSpPr>
          <p:spPr>
            <a:xfrm>
              <a:off x="14733270" y="2576990"/>
              <a:ext cx="3444240" cy="492442"/>
            </a:xfrm>
            <a:prstGeom prst="rect">
              <a:avLst/>
            </a:prstGeom>
            <a:solidFill>
              <a:srgbClr val="30488E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13" name="textruta 49">
              <a:extLst>
                <a:ext uri="{FF2B5EF4-FFF2-40B4-BE49-F238E27FC236}">
                  <a16:creationId xmlns:a16="http://schemas.microsoft.com/office/drawing/2014/main" id="{5FFCD1FD-4F6F-4BA1-B7AB-16DBBA6D6FCE}"/>
                </a:ext>
              </a:extLst>
            </p:cNvPr>
            <p:cNvSpPr txBox="1"/>
            <p:nvPr/>
          </p:nvSpPr>
          <p:spPr>
            <a:xfrm>
              <a:off x="15278100" y="2074288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Klarblå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#30488E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93 76 10 1</a:t>
              </a:r>
            </a:p>
          </p:txBody>
        </p:sp>
        <p:sp>
          <p:nvSpPr>
            <p:cNvPr id="14" name="Rektangel 50">
              <a:extLst>
                <a:ext uri="{FF2B5EF4-FFF2-40B4-BE49-F238E27FC236}">
                  <a16:creationId xmlns:a16="http://schemas.microsoft.com/office/drawing/2014/main" id="{F879382C-1A40-4D48-B120-6F167043E4A5}"/>
                </a:ext>
              </a:extLst>
            </p:cNvPr>
            <p:cNvSpPr/>
            <p:nvPr/>
          </p:nvSpPr>
          <p:spPr>
            <a:xfrm>
              <a:off x="1889760" y="6661310"/>
              <a:ext cx="3417570" cy="492442"/>
            </a:xfrm>
            <a:prstGeom prst="rect">
              <a:avLst/>
            </a:prstGeom>
            <a:solidFill>
              <a:srgbClr val="154E45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15" name="textruta 51">
              <a:extLst>
                <a:ext uri="{FF2B5EF4-FFF2-40B4-BE49-F238E27FC236}">
                  <a16:creationId xmlns:a16="http://schemas.microsoft.com/office/drawing/2014/main" id="{D9813EF4-18BB-44BB-B675-E9F83BC5ACF0}"/>
                </a:ext>
              </a:extLst>
            </p:cNvPr>
            <p:cNvSpPr txBox="1"/>
            <p:nvPr/>
          </p:nvSpPr>
          <p:spPr>
            <a:xfrm>
              <a:off x="2421254" y="6158608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Skogsgrön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#154E45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87 42 64 46</a:t>
              </a:r>
            </a:p>
          </p:txBody>
        </p:sp>
        <p:sp>
          <p:nvSpPr>
            <p:cNvPr id="16" name="Rektangel 52">
              <a:extLst>
                <a:ext uri="{FF2B5EF4-FFF2-40B4-BE49-F238E27FC236}">
                  <a16:creationId xmlns:a16="http://schemas.microsoft.com/office/drawing/2014/main" id="{E14167BC-8DDD-4362-A19F-7395E5A43BFA}"/>
                </a:ext>
              </a:extLst>
            </p:cNvPr>
            <p:cNvSpPr/>
            <p:nvPr/>
          </p:nvSpPr>
          <p:spPr>
            <a:xfrm>
              <a:off x="10488930" y="6661310"/>
              <a:ext cx="3390900" cy="492442"/>
            </a:xfrm>
            <a:prstGeom prst="rect">
              <a:avLst/>
            </a:prstGeom>
            <a:solidFill>
              <a:srgbClr val="089086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17" name="textruta 53">
              <a:extLst>
                <a:ext uri="{FF2B5EF4-FFF2-40B4-BE49-F238E27FC236}">
                  <a16:creationId xmlns:a16="http://schemas.microsoft.com/office/drawing/2014/main" id="{3BB92740-3B79-4E60-8B6D-2649C66D14EE}"/>
                </a:ext>
              </a:extLst>
            </p:cNvPr>
            <p:cNvSpPr txBox="1"/>
            <p:nvPr/>
          </p:nvSpPr>
          <p:spPr>
            <a:xfrm>
              <a:off x="11007090" y="6109078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Oceangrön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#089086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81 20 51 4</a:t>
              </a:r>
            </a:p>
          </p:txBody>
        </p:sp>
        <p:sp>
          <p:nvSpPr>
            <p:cNvPr id="18" name="Rektangel 54">
              <a:extLst>
                <a:ext uri="{FF2B5EF4-FFF2-40B4-BE49-F238E27FC236}">
                  <a16:creationId xmlns:a16="http://schemas.microsoft.com/office/drawing/2014/main" id="{0C313DF5-BB6E-4086-ACED-00F44DF28A41}"/>
                </a:ext>
              </a:extLst>
            </p:cNvPr>
            <p:cNvSpPr/>
            <p:nvPr/>
          </p:nvSpPr>
          <p:spPr>
            <a:xfrm>
              <a:off x="14759940" y="6661310"/>
              <a:ext cx="3417570" cy="492442"/>
            </a:xfrm>
            <a:prstGeom prst="rect">
              <a:avLst/>
            </a:prstGeom>
            <a:solidFill>
              <a:srgbClr val="009BA2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19" name="textruta 55">
              <a:extLst>
                <a:ext uri="{FF2B5EF4-FFF2-40B4-BE49-F238E27FC236}">
                  <a16:creationId xmlns:a16="http://schemas.microsoft.com/office/drawing/2014/main" id="{422380E3-2696-4C74-ABA9-A51895EE52EE}"/>
                </a:ext>
              </a:extLst>
            </p:cNvPr>
            <p:cNvSpPr txBox="1"/>
            <p:nvPr/>
          </p:nvSpPr>
          <p:spPr>
            <a:xfrm>
              <a:off x="15312388" y="6158608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Oceanblå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#009BA2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79 16 37 2</a:t>
              </a:r>
            </a:p>
          </p:txBody>
        </p:sp>
        <p:sp>
          <p:nvSpPr>
            <p:cNvPr id="20" name="Rektangel 56">
              <a:extLst>
                <a:ext uri="{FF2B5EF4-FFF2-40B4-BE49-F238E27FC236}">
                  <a16:creationId xmlns:a16="http://schemas.microsoft.com/office/drawing/2014/main" id="{71BDDEB9-031C-41FA-98CF-C17A23783A95}"/>
                </a:ext>
              </a:extLst>
            </p:cNvPr>
            <p:cNvSpPr/>
            <p:nvPr/>
          </p:nvSpPr>
          <p:spPr>
            <a:xfrm>
              <a:off x="6198870" y="6661310"/>
              <a:ext cx="3413760" cy="492442"/>
            </a:xfrm>
            <a:prstGeom prst="rect">
              <a:avLst/>
            </a:prstGeom>
            <a:solidFill>
              <a:srgbClr val="045C6E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21" name="textruta 57">
              <a:extLst>
                <a:ext uri="{FF2B5EF4-FFF2-40B4-BE49-F238E27FC236}">
                  <a16:creationId xmlns:a16="http://schemas.microsoft.com/office/drawing/2014/main" id="{B903D7E9-8A00-4C82-9060-7A1B05CBCD46}"/>
                </a:ext>
              </a:extLst>
            </p:cNvPr>
            <p:cNvSpPr txBox="1"/>
            <p:nvPr/>
          </p:nvSpPr>
          <p:spPr>
            <a:xfrm>
              <a:off x="6724442" y="6109078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 err="1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Teal</a:t>
              </a:r>
              <a:endParaRPr lang="sv-SE" sz="1400" b="0">
                <a:solidFill>
                  <a:srgbClr val="FFFFFF"/>
                </a:solidFill>
                <a:latin typeface="+mn-lt"/>
                <a:cs typeface="Arial" panose="020B0604020202020204" pitchFamily="34" charset="0"/>
              </a:endParaRP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#045C6E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89 44 40 28</a:t>
              </a:r>
            </a:p>
          </p:txBody>
        </p:sp>
        <p:sp>
          <p:nvSpPr>
            <p:cNvPr id="22" name="Rektangel 58">
              <a:extLst>
                <a:ext uri="{FF2B5EF4-FFF2-40B4-BE49-F238E27FC236}">
                  <a16:creationId xmlns:a16="http://schemas.microsoft.com/office/drawing/2014/main" id="{E75F35EE-24EC-40BC-9B27-8F8F4EA6ABA2}"/>
                </a:ext>
              </a:extLst>
            </p:cNvPr>
            <p:cNvSpPr/>
            <p:nvPr/>
          </p:nvSpPr>
          <p:spPr>
            <a:xfrm>
              <a:off x="19023330" y="6661310"/>
              <a:ext cx="3417570" cy="492442"/>
            </a:xfrm>
            <a:prstGeom prst="rect">
              <a:avLst/>
            </a:prstGeom>
            <a:solidFill>
              <a:srgbClr val="AF4E55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23" name="textruta 59">
              <a:extLst>
                <a:ext uri="{FF2B5EF4-FFF2-40B4-BE49-F238E27FC236}">
                  <a16:creationId xmlns:a16="http://schemas.microsoft.com/office/drawing/2014/main" id="{B9DD04EB-1F43-4FE5-96FF-C425A1365198}"/>
                </a:ext>
              </a:extLst>
            </p:cNvPr>
            <p:cNvSpPr txBox="1"/>
            <p:nvPr/>
          </p:nvSpPr>
          <p:spPr>
            <a:xfrm>
              <a:off x="19554824" y="6109078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Roströd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#AF4E55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24 77 54 15</a:t>
              </a:r>
            </a:p>
          </p:txBody>
        </p:sp>
        <p:sp>
          <p:nvSpPr>
            <p:cNvPr id="24" name="Rektangel 60">
              <a:extLst>
                <a:ext uri="{FF2B5EF4-FFF2-40B4-BE49-F238E27FC236}">
                  <a16:creationId xmlns:a16="http://schemas.microsoft.com/office/drawing/2014/main" id="{8BE8C53D-7EDC-43D3-8485-71E129706FA8}"/>
                </a:ext>
              </a:extLst>
            </p:cNvPr>
            <p:cNvSpPr/>
            <p:nvPr/>
          </p:nvSpPr>
          <p:spPr>
            <a:xfrm>
              <a:off x="1889760" y="10818019"/>
              <a:ext cx="3448050" cy="492442"/>
            </a:xfrm>
            <a:prstGeom prst="rect">
              <a:avLst/>
            </a:prstGeom>
            <a:solidFill>
              <a:srgbClr val="FDD1D1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25" name="textruta 61">
              <a:extLst>
                <a:ext uri="{FF2B5EF4-FFF2-40B4-BE49-F238E27FC236}">
                  <a16:creationId xmlns:a16="http://schemas.microsoft.com/office/drawing/2014/main" id="{D8305694-BE8E-4273-AFF3-B39947FA4946}"/>
                </a:ext>
              </a:extLst>
            </p:cNvPr>
            <p:cNvSpPr txBox="1"/>
            <p:nvPr/>
          </p:nvSpPr>
          <p:spPr>
            <a:xfrm>
              <a:off x="2421254" y="10315317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 err="1">
                  <a:latin typeface="+mn-lt"/>
                  <a:cs typeface="Arial" panose="020B0604020202020204" pitchFamily="34" charset="0"/>
                </a:rPr>
                <a:t>Persikorosa</a:t>
              </a:r>
              <a:endParaRPr lang="sv-SE" sz="1400" b="0">
                <a:latin typeface="+mn-lt"/>
                <a:cs typeface="Arial" panose="020B0604020202020204" pitchFamily="34" charset="0"/>
              </a:endParaRPr>
            </a:p>
            <a:p>
              <a:pPr defTabSz="457200" hangingPunct="1">
                <a:defRPr/>
              </a:pPr>
              <a:r>
                <a:rPr lang="sv-SE" sz="1400" b="0">
                  <a:latin typeface="+mn-lt"/>
                  <a:cs typeface="Arial" panose="020B0604020202020204" pitchFamily="34" charset="0"/>
                </a:rPr>
                <a:t>#FDD1D1</a:t>
              </a:r>
            </a:p>
            <a:p>
              <a:pPr defTabSz="457200" hangingPunct="1">
                <a:defRPr/>
              </a:pPr>
              <a:r>
                <a:rPr lang="sv-SE" sz="1400" b="0">
                  <a:latin typeface="+mn-lt"/>
                  <a:cs typeface="Arial" panose="020B0604020202020204" pitchFamily="34" charset="0"/>
                </a:rPr>
                <a:t>0 25 13 0</a:t>
              </a:r>
            </a:p>
          </p:txBody>
        </p:sp>
        <p:sp>
          <p:nvSpPr>
            <p:cNvPr id="26" name="Rektangel 62">
              <a:extLst>
                <a:ext uri="{FF2B5EF4-FFF2-40B4-BE49-F238E27FC236}">
                  <a16:creationId xmlns:a16="http://schemas.microsoft.com/office/drawing/2014/main" id="{7FE652DC-7BF0-46F4-9BC6-73A159F6A605}"/>
                </a:ext>
              </a:extLst>
            </p:cNvPr>
            <p:cNvSpPr/>
            <p:nvPr/>
          </p:nvSpPr>
          <p:spPr>
            <a:xfrm>
              <a:off x="6160770" y="10818019"/>
              <a:ext cx="3413760" cy="492442"/>
            </a:xfrm>
            <a:prstGeom prst="rect">
              <a:avLst/>
            </a:prstGeom>
            <a:solidFill>
              <a:srgbClr val="E3E3E3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27" name="textruta 63">
              <a:extLst>
                <a:ext uri="{FF2B5EF4-FFF2-40B4-BE49-F238E27FC236}">
                  <a16:creationId xmlns:a16="http://schemas.microsoft.com/office/drawing/2014/main" id="{F7460CB3-D44F-42E7-BF4F-04FF0D968AED}"/>
                </a:ext>
              </a:extLst>
            </p:cNvPr>
            <p:cNvSpPr txBox="1"/>
            <p:nvPr/>
          </p:nvSpPr>
          <p:spPr>
            <a:xfrm>
              <a:off x="6690360" y="10315317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 err="1">
                  <a:latin typeface="+mn-lt"/>
                  <a:cs typeface="Arial" panose="020B0604020202020204" pitchFamily="34" charset="0"/>
                </a:rPr>
                <a:t>Stengrå</a:t>
              </a:r>
              <a:endParaRPr lang="sv-SE" sz="1400" b="0">
                <a:latin typeface="+mn-lt"/>
                <a:cs typeface="Arial" panose="020B0604020202020204" pitchFamily="34" charset="0"/>
              </a:endParaRPr>
            </a:p>
            <a:p>
              <a:pPr defTabSz="457200" hangingPunct="1">
                <a:defRPr/>
              </a:pPr>
              <a:r>
                <a:rPr lang="sv-SE" sz="1400" b="0">
                  <a:latin typeface="+mn-lt"/>
                  <a:cs typeface="Arial" panose="020B0604020202020204" pitchFamily="34" charset="0"/>
                </a:rPr>
                <a:t>#E3E3E3</a:t>
              </a:r>
            </a:p>
            <a:p>
              <a:pPr defTabSz="457200" hangingPunct="1">
                <a:defRPr/>
              </a:pPr>
              <a:r>
                <a:rPr lang="sv-SE" sz="1400" b="0">
                  <a:latin typeface="+mn-lt"/>
                  <a:cs typeface="Arial" panose="020B0604020202020204" pitchFamily="34" charset="0"/>
                </a:rPr>
                <a:t>13 9 11 0</a:t>
              </a:r>
            </a:p>
          </p:txBody>
        </p:sp>
        <p:sp>
          <p:nvSpPr>
            <p:cNvPr id="28" name="Rektangel 64">
              <a:extLst>
                <a:ext uri="{FF2B5EF4-FFF2-40B4-BE49-F238E27FC236}">
                  <a16:creationId xmlns:a16="http://schemas.microsoft.com/office/drawing/2014/main" id="{7C1F743C-54AC-4A06-94C9-5FA94D04C4CD}"/>
                </a:ext>
              </a:extLst>
            </p:cNvPr>
            <p:cNvSpPr/>
            <p:nvPr/>
          </p:nvSpPr>
          <p:spPr>
            <a:xfrm>
              <a:off x="10462260" y="10787539"/>
              <a:ext cx="3390900" cy="492442"/>
            </a:xfrm>
            <a:prstGeom prst="rect">
              <a:avLst/>
            </a:prstGeom>
            <a:solidFill>
              <a:srgbClr val="EFE9DF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29" name="textruta 65">
              <a:extLst>
                <a:ext uri="{FF2B5EF4-FFF2-40B4-BE49-F238E27FC236}">
                  <a16:creationId xmlns:a16="http://schemas.microsoft.com/office/drawing/2014/main" id="{995BB69B-AE49-4A99-A705-1CAEA4FB3DF3}"/>
                </a:ext>
              </a:extLst>
            </p:cNvPr>
            <p:cNvSpPr txBox="1"/>
            <p:nvPr/>
          </p:nvSpPr>
          <p:spPr>
            <a:xfrm>
              <a:off x="10980420" y="10284837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 err="1">
                  <a:latin typeface="+mn-lt"/>
                  <a:cs typeface="Arial" panose="020B0604020202020204" pitchFamily="34" charset="0"/>
                </a:rPr>
                <a:t>Varmgrå</a:t>
              </a:r>
              <a:endParaRPr lang="sv-SE" sz="1400" b="0">
                <a:latin typeface="+mn-lt"/>
                <a:cs typeface="Arial" panose="020B0604020202020204" pitchFamily="34" charset="0"/>
              </a:endParaRPr>
            </a:p>
            <a:p>
              <a:pPr defTabSz="457200" hangingPunct="1">
                <a:defRPr/>
              </a:pPr>
              <a:r>
                <a:rPr lang="sv-SE" sz="1400" b="0">
                  <a:latin typeface="+mn-lt"/>
                  <a:cs typeface="Arial" panose="020B0604020202020204" pitchFamily="34" charset="0"/>
                </a:rPr>
                <a:t>#EFE9DF</a:t>
              </a:r>
            </a:p>
            <a:p>
              <a:pPr defTabSz="457200" hangingPunct="1">
                <a:defRPr/>
              </a:pPr>
              <a:r>
                <a:rPr lang="sv-SE" sz="1400" b="0">
                  <a:latin typeface="+mn-lt"/>
                  <a:cs typeface="Arial" panose="020B0604020202020204" pitchFamily="34" charset="0"/>
                </a:rPr>
                <a:t>7 8 14 0</a:t>
              </a:r>
            </a:p>
          </p:txBody>
        </p:sp>
        <p:sp>
          <p:nvSpPr>
            <p:cNvPr id="30" name="Rektangel 66">
              <a:extLst>
                <a:ext uri="{FF2B5EF4-FFF2-40B4-BE49-F238E27FC236}">
                  <a16:creationId xmlns:a16="http://schemas.microsoft.com/office/drawing/2014/main" id="{5D6F6FE9-8B11-47B1-BD79-3DB939104478}"/>
                </a:ext>
              </a:extLst>
            </p:cNvPr>
            <p:cNvSpPr/>
            <p:nvPr/>
          </p:nvSpPr>
          <p:spPr>
            <a:xfrm>
              <a:off x="19050000" y="10818019"/>
              <a:ext cx="3390900" cy="492442"/>
            </a:xfrm>
            <a:prstGeom prst="rect">
              <a:avLst/>
            </a:prstGeom>
            <a:noFill/>
            <a:ln w="12700" cap="flat">
              <a:solidFill>
                <a:srgbClr val="D5D5D5"/>
              </a:solidFill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31" name="textruta 67">
              <a:extLst>
                <a:ext uri="{FF2B5EF4-FFF2-40B4-BE49-F238E27FC236}">
                  <a16:creationId xmlns:a16="http://schemas.microsoft.com/office/drawing/2014/main" id="{64FEDD19-DD8F-4CC3-9A5F-1FAF289DFCE5}"/>
                </a:ext>
              </a:extLst>
            </p:cNvPr>
            <p:cNvSpPr txBox="1"/>
            <p:nvPr/>
          </p:nvSpPr>
          <p:spPr>
            <a:xfrm>
              <a:off x="19568160" y="10311111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>
                  <a:latin typeface="+mn-lt"/>
                  <a:cs typeface="Arial" panose="020B0604020202020204" pitchFamily="34" charset="0"/>
                </a:rPr>
                <a:t>Vit</a:t>
              </a:r>
            </a:p>
            <a:p>
              <a:pPr defTabSz="457200" hangingPunct="1">
                <a:defRPr/>
              </a:pPr>
              <a:r>
                <a:rPr lang="sv-SE" sz="1400" b="0">
                  <a:latin typeface="+mn-lt"/>
                  <a:cs typeface="Arial" panose="020B0604020202020204" pitchFamily="34" charset="0"/>
                </a:rPr>
                <a:t>#FFFFFF</a:t>
              </a:r>
            </a:p>
            <a:p>
              <a:pPr defTabSz="457200" hangingPunct="1">
                <a:defRPr/>
              </a:pPr>
              <a:r>
                <a:rPr lang="sv-SE" sz="1400" b="0">
                  <a:latin typeface="+mn-lt"/>
                  <a:cs typeface="Arial" panose="020B0604020202020204" pitchFamily="34" charset="0"/>
                </a:rPr>
                <a:t>0 0 0 0</a:t>
              </a:r>
            </a:p>
          </p:txBody>
        </p:sp>
        <p:sp>
          <p:nvSpPr>
            <p:cNvPr id="32" name="Rektangel 68">
              <a:extLst>
                <a:ext uri="{FF2B5EF4-FFF2-40B4-BE49-F238E27FC236}">
                  <a16:creationId xmlns:a16="http://schemas.microsoft.com/office/drawing/2014/main" id="{3C4C6C6D-D07C-4A18-8F58-1262DDA564AB}"/>
                </a:ext>
              </a:extLst>
            </p:cNvPr>
            <p:cNvSpPr/>
            <p:nvPr/>
          </p:nvSpPr>
          <p:spPr>
            <a:xfrm>
              <a:off x="14733270" y="10818019"/>
              <a:ext cx="3417570" cy="492442"/>
            </a:xfrm>
            <a:prstGeom prst="rect">
              <a:avLst/>
            </a:prstGeom>
            <a:solidFill>
              <a:srgbClr val="F7F5F1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33" name="textruta 69">
              <a:extLst>
                <a:ext uri="{FF2B5EF4-FFF2-40B4-BE49-F238E27FC236}">
                  <a16:creationId xmlns:a16="http://schemas.microsoft.com/office/drawing/2014/main" id="{BF8F2470-F0F3-4522-8588-EE5575AB1359}"/>
                </a:ext>
              </a:extLst>
            </p:cNvPr>
            <p:cNvSpPr txBox="1"/>
            <p:nvPr/>
          </p:nvSpPr>
          <p:spPr>
            <a:xfrm>
              <a:off x="15278100" y="10315317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>
                  <a:latin typeface="+mn-lt"/>
                  <a:cs typeface="Arial" panose="020B0604020202020204" pitchFamily="34" charset="0"/>
                </a:rPr>
                <a:t>Krämvit</a:t>
              </a:r>
            </a:p>
            <a:p>
              <a:pPr defTabSz="457200" hangingPunct="1">
                <a:defRPr/>
              </a:pPr>
              <a:r>
                <a:rPr lang="sv-SE" sz="1400" b="0">
                  <a:latin typeface="+mn-lt"/>
                  <a:cs typeface="Arial" panose="020B0604020202020204" pitchFamily="34" charset="0"/>
                </a:rPr>
                <a:t>#F7F5F1</a:t>
              </a:r>
            </a:p>
            <a:p>
              <a:pPr defTabSz="457200" hangingPunct="1">
                <a:defRPr/>
              </a:pPr>
              <a:r>
                <a:rPr lang="sv-SE" sz="1400" b="0">
                  <a:latin typeface="+mn-lt"/>
                  <a:cs typeface="Arial" panose="020B0604020202020204" pitchFamily="34" charset="0"/>
                </a:rPr>
                <a:t>4 4 6 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941621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Inled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–Johnny Appleseed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874115" y="4538638"/>
            <a:ext cx="5206608" cy="51296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>
              <a:spcBef>
                <a:spcPts val="0"/>
              </a:spcBef>
              <a:buSzTx/>
              <a:buNone/>
              <a:defRPr lang="sv-SE" dirty="0">
                <a:cs typeface="Arial" panose="020B0604020202020204" pitchFamily="34" charset="0"/>
              </a:defRPr>
            </a:lvl1pPr>
          </a:lstStyle>
          <a:p>
            <a:r>
              <a:rPr lang="sv-SE">
                <a:latin typeface="+mn-lt"/>
                <a:cs typeface="Arial" panose="020B0604020202020204" pitchFamily="34" charset="0"/>
              </a:rPr>
              <a:t>Jane Doe Smith</a:t>
            </a:r>
          </a:p>
        </p:txBody>
      </p:sp>
      <p:sp>
        <p:nvSpPr>
          <p:cNvPr id="94" name="“Type a quote here.”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853222" y="1746025"/>
            <a:ext cx="7796705" cy="179536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SzTx/>
              <a:buNone/>
              <a:defRPr lang="sv-SE" sz="5500" dirty="0">
                <a:cs typeface="Arial" panose="020B0604020202020204" pitchFamily="34" charset="0"/>
              </a:defRPr>
            </a:lvl1pPr>
          </a:lstStyle>
          <a:p>
            <a:r>
              <a:rPr lang="sv-SE">
                <a:latin typeface="+mj-lt"/>
                <a:cs typeface="Arial" panose="020B0604020202020204" pitchFamily="34" charset="0"/>
              </a:rPr>
              <a:t>En längre vänsterställd rubrik på två rader</a:t>
            </a:r>
          </a:p>
        </p:txBody>
      </p:sp>
      <p:sp>
        <p:nvSpPr>
          <p:cNvPr id="8" name="Line">
            <a:extLst>
              <a:ext uri="{FF2B5EF4-FFF2-40B4-BE49-F238E27FC236}">
                <a16:creationId xmlns:a16="http://schemas.microsoft.com/office/drawing/2014/main" id="{A789D315-9205-4977-ACEC-06FBEF7C276A}"/>
              </a:ext>
            </a:extLst>
          </p:cNvPr>
          <p:cNvSpPr/>
          <p:nvPr/>
        </p:nvSpPr>
        <p:spPr>
          <a:xfrm>
            <a:off x="939258" y="4056176"/>
            <a:ext cx="570566" cy="0"/>
          </a:xfrm>
          <a:prstGeom prst="line">
            <a:avLst/>
          </a:prstGeom>
          <a:ln w="114300">
            <a:solidFill>
              <a:schemeClr val="tx1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ln>
                <a:solidFill>
                  <a:schemeClr val="tx1"/>
                </a:solidFill>
              </a:ln>
              <a:latin typeface="+mj-lt"/>
            </a:endParaRPr>
          </a:p>
        </p:txBody>
      </p:sp>
      <p:sp>
        <p:nvSpPr>
          <p:cNvPr id="9" name="© www.partsradet.se">
            <a:extLst>
              <a:ext uri="{FF2B5EF4-FFF2-40B4-BE49-F238E27FC236}">
                <a16:creationId xmlns:a16="http://schemas.microsoft.com/office/drawing/2014/main" id="{B8B2AE36-23EE-4F4C-8585-ADA092848124}"/>
              </a:ext>
            </a:extLst>
          </p:cNvPr>
          <p:cNvSpPr txBox="1"/>
          <p:nvPr/>
        </p:nvSpPr>
        <p:spPr>
          <a:xfrm>
            <a:off x="934142" y="6094017"/>
            <a:ext cx="989053" cy="17197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 algn="l">
              <a:lnSpc>
                <a:spcPct val="120000"/>
              </a:lnSpc>
              <a:defRPr sz="1400" b="0" cap="all">
                <a:solidFill>
                  <a:srgbClr val="FFFFFF"/>
                </a:solidFill>
                <a:latin typeface="Euclid Circular A Regular"/>
                <a:ea typeface="Euclid Circular A Regular"/>
                <a:cs typeface="Euclid Circular A Regular"/>
                <a:sym typeface="Euclid Circular A Regular"/>
              </a:defRPr>
            </a:lvl1pPr>
          </a:lstStyle>
          <a:p>
            <a:r>
              <a:rPr sz="70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© www.partsradet.s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1E14AF3-57ED-40B2-B029-D50596E8DF0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8332" y="636810"/>
            <a:ext cx="2786400" cy="543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742386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Kapitelmall k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–Johnny Appleseed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3029115" y="4099449"/>
            <a:ext cx="6133771" cy="564257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3000" dirty="0"/>
            </a:lvl1pPr>
          </a:lstStyle>
          <a:p>
            <a:r>
              <a:rPr lang="sv-SE">
                <a:latin typeface="+mn-lt"/>
              </a:rPr>
              <a:t>En underrubrik om det behövs</a:t>
            </a:r>
          </a:p>
        </p:txBody>
      </p:sp>
      <p:sp>
        <p:nvSpPr>
          <p:cNvPr id="94" name="“Type a quote here.”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2196060" y="2322190"/>
            <a:ext cx="7796705" cy="94897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5500" dirty="0"/>
            </a:lvl1pPr>
          </a:lstStyle>
          <a:p>
            <a:r>
              <a:rPr lang="sv-SE">
                <a:latin typeface="+mj-lt"/>
              </a:rPr>
              <a:t>En centrerad kort rubrik</a:t>
            </a:r>
          </a:p>
        </p:txBody>
      </p:sp>
      <p:sp>
        <p:nvSpPr>
          <p:cNvPr id="6" name="Line">
            <a:extLst>
              <a:ext uri="{FF2B5EF4-FFF2-40B4-BE49-F238E27FC236}">
                <a16:creationId xmlns:a16="http://schemas.microsoft.com/office/drawing/2014/main" id="{2DCC2E31-9B7C-4173-840A-E3FE37A11D0E}"/>
              </a:ext>
            </a:extLst>
          </p:cNvPr>
          <p:cNvSpPr/>
          <p:nvPr/>
        </p:nvSpPr>
        <p:spPr>
          <a:xfrm>
            <a:off x="5793229" y="3638150"/>
            <a:ext cx="570566" cy="0"/>
          </a:xfrm>
          <a:prstGeom prst="line">
            <a:avLst/>
          </a:prstGeom>
          <a:ln w="114300">
            <a:solidFill>
              <a:schemeClr val="tx1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latin typeface="+mj-lt"/>
            </a:endParaRP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6B8EAB73-6B54-4644-90AE-F42D233DC2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14" y="651195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79460212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mall lå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–Johnny Appleseed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3029115" y="4556649"/>
            <a:ext cx="6133771" cy="51296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dirty="0"/>
            </a:lvl1pPr>
          </a:lstStyle>
          <a:p>
            <a:r>
              <a:rPr lang="sv-SE">
                <a:latin typeface="+mn-lt"/>
              </a:rPr>
              <a:t>En underrubrik om det behövs</a:t>
            </a:r>
          </a:p>
        </p:txBody>
      </p:sp>
      <p:sp>
        <p:nvSpPr>
          <p:cNvPr id="6" name="Line">
            <a:extLst>
              <a:ext uri="{FF2B5EF4-FFF2-40B4-BE49-F238E27FC236}">
                <a16:creationId xmlns:a16="http://schemas.microsoft.com/office/drawing/2014/main" id="{30810000-F07B-4B40-BBF5-0AEABB13A604}"/>
              </a:ext>
            </a:extLst>
          </p:cNvPr>
          <p:cNvSpPr/>
          <p:nvPr/>
        </p:nvSpPr>
        <p:spPr>
          <a:xfrm>
            <a:off x="5810717" y="4035343"/>
            <a:ext cx="570566" cy="0"/>
          </a:xfrm>
          <a:prstGeom prst="line">
            <a:avLst/>
          </a:prstGeom>
          <a:ln w="114300">
            <a:solidFill>
              <a:schemeClr val="tx1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latin typeface="+mj-lt"/>
            </a:endParaRP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56BBE496-89B8-4172-8469-3D63391309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14" y="651195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  <p:sp>
        <p:nvSpPr>
          <p:cNvPr id="9" name="“Type a quote here.”">
            <a:extLst>
              <a:ext uri="{FF2B5EF4-FFF2-40B4-BE49-F238E27FC236}">
                <a16:creationId xmlns:a16="http://schemas.microsoft.com/office/drawing/2014/main" id="{1E48D5FA-DE18-4193-A6E2-F77C01DA9209}"/>
              </a:ext>
            </a:extLst>
          </p:cNvPr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2197647" y="1633637"/>
            <a:ext cx="7796705" cy="1795363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5500" dirty="0"/>
            </a:lvl1pPr>
          </a:lstStyle>
          <a:p>
            <a:r>
              <a:rPr lang="sv-SE">
                <a:latin typeface="+mj-lt"/>
              </a:rPr>
              <a:t>En centrerad lite längre rubrik på två rader</a:t>
            </a:r>
          </a:p>
        </p:txBody>
      </p:sp>
    </p:spTree>
    <p:extLst>
      <p:ext uri="{BB962C8B-B14F-4D97-AF65-F5344CB8AC3E}">
        <p14:creationId xmlns:p14="http://schemas.microsoft.com/office/powerpoint/2010/main" val="2851012448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ehållsmal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876891" y="811402"/>
            <a:ext cx="8864845" cy="1143001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lang="sv-SE" sz="4000" dirty="0"/>
            </a:lvl1pPr>
          </a:lstStyle>
          <a:p>
            <a:r>
              <a:rPr lang="sv-SE">
                <a:latin typeface="+mj-lt"/>
              </a:rPr>
              <a:t>En längre vänsterställd rubrik på två rader med färgad bakgrund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94ACA180-D5F9-4B2B-B1AB-3B875289D21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6891" y="2481120"/>
            <a:ext cx="9949664" cy="2831678"/>
          </a:xfrm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 sz="2200"/>
            </a:lvl2pPr>
            <a:lvl3pPr>
              <a:buClr>
                <a:schemeClr val="tx2"/>
              </a:buClr>
              <a:defRPr sz="2000"/>
            </a:lvl3pPr>
            <a:lvl4pPr>
              <a:buClr>
                <a:schemeClr val="tx2"/>
              </a:buClr>
              <a:defRPr sz="1800"/>
            </a:lvl4pPr>
            <a:lvl5pPr>
              <a:buClr>
                <a:schemeClr val="tx2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1040365-AF2E-4DD1-9068-99322A2B72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14" y="651195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62606615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Kapitelmall k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–Johnny Appleseed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3029115" y="4099449"/>
            <a:ext cx="6133771" cy="564257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3000" dirty="0"/>
            </a:lvl1pPr>
          </a:lstStyle>
          <a:p>
            <a:r>
              <a:rPr lang="sv-SE">
                <a:latin typeface="+mn-lt"/>
              </a:rPr>
              <a:t>En underrubrik om det behövs</a:t>
            </a:r>
          </a:p>
        </p:txBody>
      </p:sp>
      <p:sp>
        <p:nvSpPr>
          <p:cNvPr id="94" name="“Type a quote here.”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2196060" y="2270894"/>
            <a:ext cx="7796705" cy="948978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5500" dirty="0"/>
            </a:lvl1pPr>
          </a:lstStyle>
          <a:p>
            <a:r>
              <a:rPr lang="sv-SE">
                <a:latin typeface="+mj-lt"/>
              </a:rPr>
              <a:t>En centrerad kort rubrik</a:t>
            </a:r>
          </a:p>
        </p:txBody>
      </p:sp>
      <p:sp>
        <p:nvSpPr>
          <p:cNvPr id="5" name="Line">
            <a:extLst>
              <a:ext uri="{FF2B5EF4-FFF2-40B4-BE49-F238E27FC236}">
                <a16:creationId xmlns:a16="http://schemas.microsoft.com/office/drawing/2014/main" id="{075388B6-9146-4962-B86F-FC536C0A0DE5}"/>
              </a:ext>
            </a:extLst>
          </p:cNvPr>
          <p:cNvSpPr/>
          <p:nvPr/>
        </p:nvSpPr>
        <p:spPr>
          <a:xfrm>
            <a:off x="5793229" y="3638150"/>
            <a:ext cx="570566" cy="0"/>
          </a:xfrm>
          <a:prstGeom prst="line">
            <a:avLst/>
          </a:prstGeom>
          <a:ln w="114300">
            <a:solidFill>
              <a:srgbClr val="FFFFFF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latin typeface="+mj-lt"/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186D1854-0FC1-403B-86B4-B2EEEAF0D5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7"/>
            <a:ext cx="384644" cy="28166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8114D91-4524-0541-9CCE-86E92887A391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8089675"/>
      </p:ext>
    </p:extLst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nnehållsmal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876891" y="811402"/>
            <a:ext cx="8864845" cy="1143001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lang="sv-SE" sz="4000" dirty="0"/>
            </a:lvl1pPr>
          </a:lstStyle>
          <a:p>
            <a:r>
              <a:rPr lang="sv-SE">
                <a:latin typeface="+mj-lt"/>
              </a:rPr>
              <a:t>En längre vänsterställd rubrik på två rader med färgad bakgrund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5844113-D91C-4C16-A203-0259235C89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14" y="651195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53953213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ehållsmal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876891" y="811402"/>
            <a:ext cx="8078525" cy="114300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lang="sv-SE" sz="4000" smtClean="0"/>
            </a:lvl1pPr>
          </a:lstStyle>
          <a:p>
            <a:r>
              <a:rPr lang="sv-SE">
                <a:latin typeface="+mj-lt"/>
              </a:rPr>
              <a:t>En lång vänsterställd rubrik på två rader med en hel del text</a:t>
            </a:r>
            <a:endParaRPr/>
          </a:p>
        </p:txBody>
      </p:sp>
      <p:sp>
        <p:nvSpPr>
          <p:cNvPr id="8" name="Body Level One…">
            <a:extLst>
              <a:ext uri="{FF2B5EF4-FFF2-40B4-BE49-F238E27FC236}">
                <a16:creationId xmlns:a16="http://schemas.microsoft.com/office/drawing/2014/main" id="{63146072-14B8-4D30-92C1-8A4AC3DEB61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876891" y="2522637"/>
            <a:ext cx="4527726" cy="3244542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  <a:lvl2pPr marL="317500" indent="0">
              <a:buNone/>
              <a:defRPr sz="1800"/>
            </a:lvl2pPr>
            <a:lvl3pPr marL="635000" indent="0">
              <a:buNone/>
              <a:defRPr sz="1800"/>
            </a:lvl3pPr>
            <a:lvl4pPr marL="952500" indent="0">
              <a:buNone/>
              <a:defRPr sz="1800"/>
            </a:lvl4pPr>
            <a:lvl5pPr marL="1270000" indent="0">
              <a:buNone/>
              <a:defRPr sz="1800"/>
            </a:lvl5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9" name="Body Level One…">
            <a:extLst>
              <a:ext uri="{FF2B5EF4-FFF2-40B4-BE49-F238E27FC236}">
                <a16:creationId xmlns:a16="http://schemas.microsoft.com/office/drawing/2014/main" id="{AC3CB629-A935-4C14-86D7-17401DE425E6}"/>
              </a:ext>
            </a:extLst>
          </p:cNvPr>
          <p:cNvSpPr txBox="1">
            <a:spLocks noGrp="1"/>
          </p:cNvSpPr>
          <p:nvPr>
            <p:ph type="body" idx="10" hasCustomPrompt="1"/>
          </p:nvPr>
        </p:nvSpPr>
        <p:spPr>
          <a:xfrm>
            <a:off x="6270539" y="2522637"/>
            <a:ext cx="4527726" cy="3244542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  <a:lvl2pPr marL="317500" indent="0">
              <a:buNone/>
              <a:defRPr sz="1800"/>
            </a:lvl2pPr>
            <a:lvl3pPr marL="635000" indent="0">
              <a:buNone/>
              <a:defRPr sz="1800"/>
            </a:lvl3pPr>
            <a:lvl4pPr marL="952500" indent="0">
              <a:buNone/>
              <a:defRPr sz="1800"/>
            </a:lvl4pPr>
            <a:lvl5pPr marL="1270000" indent="0">
              <a:buNone/>
              <a:defRPr sz="1800"/>
            </a:lvl5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7328FE0B-DF46-4EC0-A1D1-051121E660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14" y="651195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67965349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Innehållsmall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Image"/>
          <p:cNvSpPr>
            <a:spLocks noGrp="1"/>
          </p:cNvSpPr>
          <p:nvPr>
            <p:ph type="pic" sz="half" idx="13"/>
          </p:nvPr>
        </p:nvSpPr>
        <p:spPr>
          <a:xfrm>
            <a:off x="0" y="0"/>
            <a:ext cx="5338148" cy="6858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39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6238356" y="874902"/>
            <a:ext cx="5111750" cy="1159292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lang="sv-SE" sz="4000" dirty="0"/>
            </a:lvl1pPr>
          </a:lstStyle>
          <a:p>
            <a:r>
              <a:rPr lang="sv-SE">
                <a:latin typeface="+mj-lt"/>
              </a:rPr>
              <a:t>En lite längre rubrik på två rader</a:t>
            </a:r>
          </a:p>
        </p:txBody>
      </p:sp>
      <p:sp>
        <p:nvSpPr>
          <p:cNvPr id="40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6270539" y="2610132"/>
            <a:ext cx="5044285" cy="2586157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 defTabSz="228600">
              <a:lnSpc>
                <a:spcPct val="130000"/>
              </a:lnSpc>
              <a:spcBef>
                <a:spcPts val="0"/>
              </a:spcBef>
              <a:buSzTx/>
              <a:buNone/>
              <a:defRPr lang="sv-SE"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lvl1pPr>
            <a:lvl2pPr marL="0" indent="0" algn="l">
              <a:spcBef>
                <a:spcPts val="0"/>
              </a:spcBef>
              <a:buSzTx/>
              <a:buNone/>
              <a:defRPr sz="1550"/>
            </a:lvl2pPr>
            <a:lvl3pPr marL="0" indent="0" algn="l">
              <a:spcBef>
                <a:spcPts val="0"/>
              </a:spcBef>
              <a:buSzTx/>
              <a:buNone/>
              <a:defRPr sz="1550"/>
            </a:lvl3pPr>
            <a:lvl4pPr marL="0" indent="0" algn="l">
              <a:spcBef>
                <a:spcPts val="0"/>
              </a:spcBef>
              <a:buSzTx/>
              <a:buNone/>
              <a:defRPr sz="1550"/>
            </a:lvl4pPr>
            <a:lvl5pPr marL="0" indent="0" algn="l">
              <a:spcBef>
                <a:spcPts val="0"/>
              </a:spcBef>
              <a:buSzTx/>
              <a:buNone/>
              <a:defRPr sz="1550"/>
            </a:lvl5pPr>
          </a:lstStyle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400" err="1">
                <a:latin typeface="+mn-lt"/>
              </a:rPr>
              <a:t>Lore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ips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dolo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sit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met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nsectetu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dipiscing</a:t>
            </a:r>
            <a:r>
              <a:rPr lang="sv-SE" sz="1400">
                <a:latin typeface="+mn-lt"/>
              </a:rPr>
              <a:t> elit. </a:t>
            </a:r>
            <a:r>
              <a:rPr lang="sv-SE" sz="1400" err="1">
                <a:latin typeface="+mn-lt"/>
              </a:rPr>
              <a:t>Phasellus</a:t>
            </a:r>
            <a:r>
              <a:rPr lang="sv-SE" sz="1400">
                <a:latin typeface="+mn-lt"/>
              </a:rPr>
              <a:t> gravida </a:t>
            </a:r>
            <a:r>
              <a:rPr lang="sv-SE" sz="1400" err="1">
                <a:latin typeface="+mn-lt"/>
              </a:rPr>
              <a:t>justo</a:t>
            </a:r>
            <a:r>
              <a:rPr lang="sv-SE" sz="1400">
                <a:latin typeface="+mn-lt"/>
              </a:rPr>
              <a:t> eget </a:t>
            </a:r>
            <a:r>
              <a:rPr lang="sv-SE" sz="1400" err="1">
                <a:latin typeface="+mn-lt"/>
              </a:rPr>
              <a:t>nislo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ulla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rper</a:t>
            </a:r>
            <a:r>
              <a:rPr lang="sv-SE" sz="1400">
                <a:latin typeface="+mn-lt"/>
              </a:rPr>
              <a:t> id </a:t>
            </a:r>
            <a:r>
              <a:rPr lang="sv-SE" sz="1400" err="1">
                <a:latin typeface="+mn-lt"/>
              </a:rPr>
              <a:t>ornare</a:t>
            </a:r>
            <a:r>
              <a:rPr lang="sv-SE" sz="1400">
                <a:latin typeface="+mn-lt"/>
              </a:rPr>
              <a:t> mi </a:t>
            </a:r>
            <a:r>
              <a:rPr lang="sv-SE" sz="1400" err="1">
                <a:latin typeface="+mn-lt"/>
              </a:rPr>
              <a:t>imperdiet</a:t>
            </a:r>
            <a:r>
              <a:rPr lang="sv-SE" sz="1400">
                <a:latin typeface="+mn-lt"/>
              </a:rPr>
              <a:t>. In </a:t>
            </a:r>
            <a:r>
              <a:rPr lang="sv-SE" sz="1400" err="1">
                <a:latin typeface="+mn-lt"/>
              </a:rPr>
              <a:t>plaacerat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dia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ferment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ucto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ips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vehicula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lacinia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metuso</a:t>
            </a:r>
            <a:r>
              <a:rPr lang="sv-SE" sz="1400">
                <a:latin typeface="+mn-lt"/>
              </a:rPr>
              <a:t> de </a:t>
            </a:r>
            <a:r>
              <a:rPr lang="sv-SE" sz="1400" err="1">
                <a:latin typeface="+mn-lt"/>
              </a:rPr>
              <a:t>vecchio</a:t>
            </a:r>
            <a:r>
              <a:rPr lang="sv-SE" sz="1400">
                <a:latin typeface="+mn-lt"/>
              </a:rPr>
              <a:t>.</a:t>
            </a:r>
          </a:p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endParaRPr lang="sv-SE" sz="1400">
              <a:latin typeface="+mn-lt"/>
            </a:endParaRPr>
          </a:p>
          <a:p>
            <a:pPr algn="l" defTabSz="457200">
              <a:lnSpc>
                <a:spcPct val="130000"/>
              </a:lnSpc>
              <a:defRPr sz="2800" b="0">
                <a:latin typeface="Euclid Circular B SemiBold"/>
                <a:ea typeface="Euclid Circular B SemiBold"/>
                <a:cs typeface="Euclid Circular B SemiBold"/>
                <a:sym typeface="Euclid Circular B SemiBold"/>
              </a:defRPr>
            </a:pPr>
            <a:r>
              <a:rPr lang="sv-SE" sz="1400">
                <a:latin typeface="+mn-lt"/>
                <a:ea typeface="Euclid Circular A SemiBold" panose="020B0704000000000000" pitchFamily="34" charset="0"/>
              </a:rPr>
              <a:t>En underrubrik i texten</a:t>
            </a:r>
          </a:p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400">
                <a:latin typeface="+mn-lt"/>
              </a:rPr>
              <a:t>Mauris non </a:t>
            </a:r>
            <a:r>
              <a:rPr lang="sv-SE" sz="1400" err="1">
                <a:latin typeface="+mn-lt"/>
              </a:rPr>
              <a:t>dolor</a:t>
            </a:r>
            <a:r>
              <a:rPr lang="sv-SE" sz="1400">
                <a:latin typeface="+mn-lt"/>
              </a:rPr>
              <a:t> non </a:t>
            </a:r>
            <a:r>
              <a:rPr lang="sv-SE" sz="1400" err="1">
                <a:latin typeface="+mn-lt"/>
              </a:rPr>
              <a:t>metus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preti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ngue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phasellus</a:t>
            </a:r>
            <a:r>
              <a:rPr lang="sv-SE" sz="1400">
                <a:latin typeface="+mn-lt"/>
              </a:rPr>
              <a:t> gravida </a:t>
            </a:r>
            <a:r>
              <a:rPr lang="sv-SE" sz="1400" err="1">
                <a:latin typeface="+mn-lt"/>
              </a:rPr>
              <a:t>justo</a:t>
            </a:r>
            <a:r>
              <a:rPr lang="sv-SE" sz="1400">
                <a:latin typeface="+mn-lt"/>
              </a:rPr>
              <a:t> eget </a:t>
            </a:r>
            <a:r>
              <a:rPr lang="sv-SE" sz="1400" err="1">
                <a:latin typeface="+mn-lt"/>
              </a:rPr>
              <a:t>nislo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ulla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rper</a:t>
            </a:r>
            <a:r>
              <a:rPr lang="sv-SE" sz="1400">
                <a:latin typeface="+mn-lt"/>
              </a:rPr>
              <a:t>.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592F750-F665-4091-A073-2B26BA880B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419700" y="646532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639926"/>
      </p:ext>
    </p:extLst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ehållsmall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Image"/>
          <p:cNvSpPr>
            <a:spLocks noGrp="1"/>
          </p:cNvSpPr>
          <p:nvPr>
            <p:ph type="pic" sz="half" idx="13"/>
          </p:nvPr>
        </p:nvSpPr>
        <p:spPr>
          <a:xfrm>
            <a:off x="0" y="0"/>
            <a:ext cx="5338148" cy="6858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39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6238356" y="874902"/>
            <a:ext cx="5111750" cy="1159292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000"/>
            </a:lvl1pPr>
          </a:lstStyle>
          <a:p>
            <a:r>
              <a:rPr lang="sv-SE"/>
              <a:t>En längre rubrik med </a:t>
            </a:r>
            <a:r>
              <a:rPr lang="sv-SE" err="1"/>
              <a:t>bullet</a:t>
            </a:r>
            <a:r>
              <a:rPr lang="sv-SE"/>
              <a:t> </a:t>
            </a:r>
            <a:r>
              <a:rPr lang="sv-SE" err="1"/>
              <a:t>points</a:t>
            </a:r>
            <a:endParaRPr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B25E7B1-DCCB-4999-BC42-B8512575CBD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38356" y="2374503"/>
            <a:ext cx="5044285" cy="2831678"/>
          </a:xfrm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 sz="2200"/>
            </a:lvl2pPr>
            <a:lvl3pPr>
              <a:buClr>
                <a:schemeClr val="tx2"/>
              </a:buClr>
              <a:defRPr sz="2000"/>
            </a:lvl3pPr>
            <a:lvl4pPr>
              <a:buClr>
                <a:schemeClr val="tx2"/>
              </a:buClr>
              <a:defRPr sz="1800"/>
            </a:lvl4pPr>
            <a:lvl5pPr>
              <a:buClr>
                <a:schemeClr val="tx2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6C21212-7C1F-4749-89D3-12390216C3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419700" y="646532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86775299"/>
      </p:ext>
    </p:extLst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ehållsmall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Image"/>
          <p:cNvSpPr>
            <a:spLocks noGrp="1"/>
          </p:cNvSpPr>
          <p:nvPr>
            <p:ph type="pic" sz="half" idx="13"/>
          </p:nvPr>
        </p:nvSpPr>
        <p:spPr>
          <a:xfrm>
            <a:off x="6862296" y="-4910"/>
            <a:ext cx="5338148" cy="6858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39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874114" y="1441160"/>
            <a:ext cx="5221886" cy="593034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lang="sv-SE" sz="4000" dirty="0"/>
            </a:lvl1pPr>
          </a:lstStyle>
          <a:p>
            <a:r>
              <a:rPr lang="sv-SE">
                <a:latin typeface="+mj-lt"/>
              </a:rPr>
              <a:t>En kort rubrik</a:t>
            </a:r>
          </a:p>
        </p:txBody>
      </p:sp>
      <p:sp>
        <p:nvSpPr>
          <p:cNvPr id="8" name="Body Level One…">
            <a:extLst>
              <a:ext uri="{FF2B5EF4-FFF2-40B4-BE49-F238E27FC236}">
                <a16:creationId xmlns:a16="http://schemas.microsoft.com/office/drawing/2014/main" id="{16A2CEFA-D751-48FC-8537-5780947B6158}"/>
              </a:ext>
            </a:extLst>
          </p:cNvPr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874114" y="2456009"/>
            <a:ext cx="5186603" cy="1945982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 defTabSz="228600">
              <a:lnSpc>
                <a:spcPct val="130000"/>
              </a:lnSpc>
              <a:spcBef>
                <a:spcPts val="0"/>
              </a:spcBef>
              <a:buSzTx/>
              <a:buNone/>
              <a:defRPr lang="sv-SE"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lvl1pPr>
            <a:lvl2pPr marL="0" indent="0" algn="l">
              <a:spcBef>
                <a:spcPts val="0"/>
              </a:spcBef>
              <a:buSzTx/>
              <a:buNone/>
              <a:defRPr sz="1550"/>
            </a:lvl2pPr>
            <a:lvl3pPr marL="0" indent="0" algn="l">
              <a:spcBef>
                <a:spcPts val="0"/>
              </a:spcBef>
              <a:buSzTx/>
              <a:buNone/>
              <a:defRPr sz="1550"/>
            </a:lvl3pPr>
            <a:lvl4pPr marL="0" indent="0" algn="l">
              <a:spcBef>
                <a:spcPts val="0"/>
              </a:spcBef>
              <a:buSzTx/>
              <a:buNone/>
              <a:defRPr sz="1550"/>
            </a:lvl4pPr>
            <a:lvl5pPr marL="0" indent="0" algn="l">
              <a:spcBef>
                <a:spcPts val="0"/>
              </a:spcBef>
              <a:buSzTx/>
              <a:buNone/>
              <a:defRPr sz="1550"/>
            </a:lvl5pPr>
          </a:lstStyle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400" err="1">
                <a:latin typeface="+mn-lt"/>
              </a:rPr>
              <a:t>Lore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ips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dolo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sit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met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nsectetu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dipiscing</a:t>
            </a:r>
            <a:r>
              <a:rPr lang="sv-SE" sz="1400">
                <a:latin typeface="+mn-lt"/>
              </a:rPr>
              <a:t> elit. </a:t>
            </a:r>
            <a:r>
              <a:rPr lang="sv-SE" sz="1400" err="1">
                <a:latin typeface="+mn-lt"/>
              </a:rPr>
              <a:t>Phasellus</a:t>
            </a:r>
            <a:r>
              <a:rPr lang="sv-SE" sz="1400">
                <a:latin typeface="+mn-lt"/>
              </a:rPr>
              <a:t> gravida </a:t>
            </a:r>
            <a:r>
              <a:rPr lang="sv-SE" sz="1400" err="1">
                <a:latin typeface="+mn-lt"/>
              </a:rPr>
              <a:t>justo</a:t>
            </a:r>
            <a:r>
              <a:rPr lang="sv-SE" sz="1400">
                <a:latin typeface="+mn-lt"/>
              </a:rPr>
              <a:t> eget </a:t>
            </a:r>
            <a:r>
              <a:rPr lang="sv-SE" sz="1400" err="1">
                <a:latin typeface="+mn-lt"/>
              </a:rPr>
              <a:t>nislo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ulla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rper</a:t>
            </a:r>
            <a:r>
              <a:rPr lang="sv-SE" sz="1400">
                <a:latin typeface="+mn-lt"/>
              </a:rPr>
              <a:t> id </a:t>
            </a:r>
            <a:r>
              <a:rPr lang="sv-SE" sz="1400" err="1">
                <a:latin typeface="+mn-lt"/>
              </a:rPr>
              <a:t>ornare</a:t>
            </a:r>
            <a:r>
              <a:rPr lang="sv-SE" sz="1400">
                <a:latin typeface="+mn-lt"/>
              </a:rPr>
              <a:t> mi </a:t>
            </a:r>
            <a:r>
              <a:rPr lang="sv-SE" sz="1400" err="1">
                <a:latin typeface="+mn-lt"/>
              </a:rPr>
              <a:t>imperdiet</a:t>
            </a:r>
            <a:r>
              <a:rPr lang="sv-SE" sz="1400">
                <a:latin typeface="+mn-lt"/>
              </a:rPr>
              <a:t>. In placerat </a:t>
            </a:r>
            <a:r>
              <a:rPr lang="sv-SE" sz="1400" err="1">
                <a:latin typeface="+mn-lt"/>
              </a:rPr>
              <a:t>dia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ferment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ucto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ips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vehicula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lacinia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metuso</a:t>
            </a:r>
            <a:r>
              <a:rPr lang="sv-SE" sz="1400">
                <a:latin typeface="+mn-lt"/>
              </a:rPr>
              <a:t> de </a:t>
            </a:r>
            <a:r>
              <a:rPr lang="sv-SE" sz="1400" err="1">
                <a:latin typeface="+mn-lt"/>
              </a:rPr>
              <a:t>vecchio</a:t>
            </a:r>
            <a:r>
              <a:rPr lang="sv-SE" sz="1400">
                <a:latin typeface="+mn-lt"/>
              </a:rPr>
              <a:t>.</a:t>
            </a:r>
          </a:p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endParaRPr lang="sv-SE" sz="1400">
              <a:latin typeface="+mn-lt"/>
            </a:endParaRPr>
          </a:p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400">
                <a:latin typeface="+mn-lt"/>
              </a:rPr>
              <a:t>Mauris non </a:t>
            </a:r>
            <a:r>
              <a:rPr lang="sv-SE" sz="1400" err="1">
                <a:latin typeface="+mn-lt"/>
              </a:rPr>
              <a:t>dolor</a:t>
            </a:r>
            <a:r>
              <a:rPr lang="sv-SE" sz="1400">
                <a:latin typeface="+mn-lt"/>
              </a:rPr>
              <a:t> non </a:t>
            </a:r>
            <a:r>
              <a:rPr lang="sv-SE" sz="1400" err="1">
                <a:latin typeface="+mn-lt"/>
              </a:rPr>
              <a:t>metus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preti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ngue</a:t>
            </a:r>
            <a:r>
              <a:rPr lang="sv-SE" sz="1400">
                <a:latin typeface="+mn-lt"/>
              </a:rPr>
              <a:t>. 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AF4CD561-DD57-4EA1-A709-82E0BFE594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14" y="651195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78321934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Innehållsmall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–Johnny Appleseed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2585057" y="3822994"/>
            <a:ext cx="7021887" cy="1487587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3000" dirty="0"/>
            </a:lvl1pPr>
          </a:lstStyle>
          <a:p>
            <a:r>
              <a:rPr lang="sv-SE">
                <a:latin typeface="+mn-lt"/>
              </a:rPr>
              <a:t>Centrerad undertext i lite större storlek när man behöver att ett viktigt budskap ska ta lite extra plats.</a:t>
            </a:r>
          </a:p>
        </p:txBody>
      </p:sp>
      <p:sp>
        <p:nvSpPr>
          <p:cNvPr id="94" name="“Type a quote here.”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2523000" y="1372055"/>
            <a:ext cx="7146000" cy="13336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4000" dirty="0"/>
            </a:lvl1pPr>
          </a:lstStyle>
          <a:p>
            <a:r>
              <a:rPr lang="sv-SE">
                <a:latin typeface="+mj-lt"/>
              </a:rPr>
              <a:t>En längre centrerad rubrik med ett streck som bryter av </a:t>
            </a:r>
          </a:p>
        </p:txBody>
      </p:sp>
      <p:sp>
        <p:nvSpPr>
          <p:cNvPr id="6" name="Line">
            <a:extLst>
              <a:ext uri="{FF2B5EF4-FFF2-40B4-BE49-F238E27FC236}">
                <a16:creationId xmlns:a16="http://schemas.microsoft.com/office/drawing/2014/main" id="{089DD18C-C6ED-49CF-9BBB-999B77A1C878}"/>
              </a:ext>
            </a:extLst>
          </p:cNvPr>
          <p:cNvSpPr/>
          <p:nvPr/>
        </p:nvSpPr>
        <p:spPr>
          <a:xfrm>
            <a:off x="5810716" y="3255902"/>
            <a:ext cx="570566" cy="0"/>
          </a:xfrm>
          <a:prstGeom prst="line">
            <a:avLst/>
          </a:prstGeom>
          <a:ln w="114300">
            <a:solidFill>
              <a:schemeClr val="tx1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latin typeface="+mj-lt"/>
            </a:endParaRP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0248FC67-211A-4DD7-8DFE-EC1BB7E2D6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14" y="651195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70760088"/>
      </p:ext>
    </p:extLst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ehållsmall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artsradet_national_museum__DSF0863.jpg" descr="Partsradet_national_museum__DSF0863.jpg">
            <a:extLst>
              <a:ext uri="{FF2B5EF4-FFF2-40B4-BE49-F238E27FC236}">
                <a16:creationId xmlns:a16="http://schemas.microsoft.com/office/drawing/2014/main" id="{5D326849-9AB8-47B1-A59D-9730F8C783F8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9927"/>
          </a:blip>
          <a:stretch>
            <a:fillRect/>
          </a:stretch>
        </p:blipFill>
        <p:spPr>
          <a:xfrm>
            <a:off x="1" y="0"/>
            <a:ext cx="12202847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94" name="“Type a quote here.”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1745638" y="2488914"/>
            <a:ext cx="8700725" cy="194925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4000" dirty="0"/>
            </a:lvl1pPr>
          </a:lstStyle>
          <a:p>
            <a:r>
              <a:rPr lang="sv-SE">
                <a:latin typeface="+mj-lt"/>
              </a:rPr>
              <a:t>En centrerad längre rubrik på flera rader med en nedtonad bakgrundsbild när man vill ha en </a:t>
            </a:r>
            <a:r>
              <a:rPr lang="sv-SE" err="1">
                <a:latin typeface="+mj-lt"/>
              </a:rPr>
              <a:t>slide</a:t>
            </a:r>
            <a:r>
              <a:rPr lang="sv-SE">
                <a:latin typeface="+mj-lt"/>
              </a:rPr>
              <a:t> som bryter av lite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40983D9-3A63-4250-B653-CB0E746B01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14" y="651195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12751441"/>
      </p:ext>
    </p:extLst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dslin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876891" y="811402"/>
            <a:ext cx="8078525" cy="114300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4000"/>
            </a:lvl1pPr>
          </a:lstStyle>
          <a:p>
            <a:r>
              <a:rPr lang="sv-SE"/>
              <a:t>En lång vänsterställd rubrik på två rader och tidslinje under</a:t>
            </a:r>
            <a:endParaRPr/>
          </a:p>
        </p:txBody>
      </p:sp>
      <p:sp>
        <p:nvSpPr>
          <p:cNvPr id="7" name="Line">
            <a:extLst>
              <a:ext uri="{FF2B5EF4-FFF2-40B4-BE49-F238E27FC236}">
                <a16:creationId xmlns:a16="http://schemas.microsoft.com/office/drawing/2014/main" id="{89D347E3-0012-4A0E-86C4-A6973FD29E30}"/>
              </a:ext>
            </a:extLst>
          </p:cNvPr>
          <p:cNvSpPr/>
          <p:nvPr/>
        </p:nvSpPr>
        <p:spPr>
          <a:xfrm>
            <a:off x="938118" y="3589706"/>
            <a:ext cx="10315764" cy="1"/>
          </a:xfrm>
          <a:prstGeom prst="line">
            <a:avLst/>
          </a:prstGeom>
          <a:ln w="25400">
            <a:solidFill>
              <a:schemeClr val="tx1"/>
            </a:solidFill>
            <a:custDash>
              <a:ds d="200000" sp="200000"/>
            </a:custDash>
            <a:miter lim="400000"/>
            <a:tailEnd type="triangle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ln>
                <a:solidFill>
                  <a:schemeClr val="tx1"/>
                </a:solidFill>
              </a:ln>
              <a:latin typeface="+mn-l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D63BB9-63D0-402D-B7F7-5DD70CB7953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38118" y="4037222"/>
            <a:ext cx="1555750" cy="1492309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5pPr>
              <a:defRPr/>
            </a:lvl5pPr>
          </a:lstStyle>
          <a:p>
            <a:pPr lvl="0"/>
            <a:r>
              <a:rPr lang="sv-SE" noProof="0"/>
              <a:t>Text till tidslinj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2A77119-29DA-4683-BCD0-D82825EBDD6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858123" y="4037222"/>
            <a:ext cx="1555750" cy="1492309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5pPr>
              <a:defRPr/>
            </a:lvl5pPr>
          </a:lstStyle>
          <a:p>
            <a:pPr lvl="0"/>
            <a:r>
              <a:rPr lang="sv-SE" noProof="0"/>
              <a:t>Text till tidslinj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61E8B5D-7D2C-44FF-B4BA-DA763FD75C51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778127" y="4037222"/>
            <a:ext cx="1555750" cy="1492309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5pPr>
              <a:defRPr/>
            </a:lvl5pPr>
          </a:lstStyle>
          <a:p>
            <a:pPr lvl="0"/>
            <a:r>
              <a:rPr lang="sv-SE" noProof="0"/>
              <a:t>Text till tidslinj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AC2AEEE4-A467-4015-8B76-19A098BE56F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698132" y="4037222"/>
            <a:ext cx="1555750" cy="1492309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5pPr>
              <a:defRPr/>
            </a:lvl5pPr>
          </a:lstStyle>
          <a:p>
            <a:pPr lvl="0"/>
            <a:r>
              <a:rPr lang="sv-SE" noProof="0"/>
              <a:t>Text till tidslinje</a:t>
            </a:r>
          </a:p>
        </p:txBody>
      </p:sp>
      <p:sp>
        <p:nvSpPr>
          <p:cNvPr id="25" name="Circle">
            <a:extLst>
              <a:ext uri="{FF2B5EF4-FFF2-40B4-BE49-F238E27FC236}">
                <a16:creationId xmlns:a16="http://schemas.microsoft.com/office/drawing/2014/main" id="{8FFDA874-5DBF-409C-A8F1-7103A28852E4}"/>
              </a:ext>
            </a:extLst>
          </p:cNvPr>
          <p:cNvSpPr/>
          <p:nvPr/>
        </p:nvSpPr>
        <p:spPr>
          <a:xfrm>
            <a:off x="939258" y="3496412"/>
            <a:ext cx="186588" cy="186588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F6F12E13-B40B-4398-A53B-6E9DF61E33D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9257" y="2975745"/>
            <a:ext cx="1555200" cy="292550"/>
          </a:xfrm>
        </p:spPr>
        <p:txBody>
          <a:bodyPr>
            <a:normAutofit/>
          </a:bodyPr>
          <a:lstStyle>
            <a:lvl1pPr marL="0" indent="0">
              <a:spcBef>
                <a:spcPts val="50"/>
              </a:spcBef>
              <a:buNone/>
              <a:defRPr sz="1400"/>
            </a:lvl1pPr>
          </a:lstStyle>
          <a:p>
            <a:pPr lvl="0"/>
            <a:r>
              <a:rPr lang="en-US"/>
              <a:t>Steg 1</a:t>
            </a:r>
            <a:endParaRPr lang="sv-SE"/>
          </a:p>
        </p:txBody>
      </p:sp>
      <p:sp>
        <p:nvSpPr>
          <p:cNvPr id="28" name="Text Placeholder 22">
            <a:extLst>
              <a:ext uri="{FF2B5EF4-FFF2-40B4-BE49-F238E27FC236}">
                <a16:creationId xmlns:a16="http://schemas.microsoft.com/office/drawing/2014/main" id="{C041049A-24DC-49FA-98C0-90559F634A1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58122" y="2975744"/>
            <a:ext cx="1555200" cy="29255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400"/>
            </a:lvl1pPr>
          </a:lstStyle>
          <a:p>
            <a:pPr lvl="0"/>
            <a:r>
              <a:rPr lang="en-US"/>
              <a:t>Steg 2</a:t>
            </a:r>
          </a:p>
        </p:txBody>
      </p:sp>
      <p:sp>
        <p:nvSpPr>
          <p:cNvPr id="29" name="Text Placeholder 22">
            <a:extLst>
              <a:ext uri="{FF2B5EF4-FFF2-40B4-BE49-F238E27FC236}">
                <a16:creationId xmlns:a16="http://schemas.microsoft.com/office/drawing/2014/main" id="{ABDBA522-6A4F-46F4-B015-A48AB50288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986" y="2975744"/>
            <a:ext cx="1555200" cy="29255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400"/>
            </a:lvl1pPr>
          </a:lstStyle>
          <a:p>
            <a:pPr lvl="0"/>
            <a:r>
              <a:rPr lang="en-US"/>
              <a:t>Steg 3</a:t>
            </a:r>
            <a:endParaRPr lang="sv-SE"/>
          </a:p>
        </p:txBody>
      </p:sp>
      <p:sp>
        <p:nvSpPr>
          <p:cNvPr id="30" name="Text Placeholder 22">
            <a:extLst>
              <a:ext uri="{FF2B5EF4-FFF2-40B4-BE49-F238E27FC236}">
                <a16:creationId xmlns:a16="http://schemas.microsoft.com/office/drawing/2014/main" id="{828B8332-A76E-4C09-94B2-941DAB3C190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695851" y="2975743"/>
            <a:ext cx="1555200" cy="29255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400"/>
            </a:lvl1pPr>
          </a:lstStyle>
          <a:p>
            <a:pPr lvl="0"/>
            <a:r>
              <a:rPr lang="en-US"/>
              <a:t>Steg 4</a:t>
            </a:r>
            <a:endParaRPr lang="sv-SE"/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EE68B3D7-4C7C-41D7-AF0A-9AF6050998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14" y="651195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88443691"/>
      </p:ext>
    </p:extLst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–Johnny Appleseed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2945804" y="5396214"/>
            <a:ext cx="6325059" cy="79367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ctr" defTabSz="228600">
              <a:lnSpc>
                <a:spcPct val="130000"/>
              </a:lnSpc>
              <a:spcBef>
                <a:spcPts val="0"/>
              </a:spcBef>
              <a:buSzTx/>
              <a:buNone/>
              <a:defRPr lang="sv-SE" sz="1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lvl1pPr>
          </a:lstStyle>
          <a:p>
            <a:pPr defTabSz="457200">
              <a:lnSpc>
                <a:spcPct val="130000"/>
              </a:lnSpc>
              <a:defRPr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800">
                <a:latin typeface="+mn-lt"/>
              </a:rPr>
              <a:t>Jane Doe Smith</a:t>
            </a:r>
          </a:p>
          <a:p>
            <a:pPr defTabSz="457200">
              <a:lnSpc>
                <a:spcPct val="130000"/>
              </a:lnSpc>
              <a:defRPr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800">
                <a:latin typeface="+mn-lt"/>
              </a:rPr>
              <a:t>Arbetslivsforskare &amp; Föreläsare</a:t>
            </a:r>
          </a:p>
        </p:txBody>
      </p:sp>
      <p:sp>
        <p:nvSpPr>
          <p:cNvPr id="94" name="“Type a quote here.”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1578967" y="1522798"/>
            <a:ext cx="9034066" cy="896655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 defTabSz="228600">
              <a:lnSpc>
                <a:spcPct val="90000"/>
              </a:lnSpc>
              <a:spcBef>
                <a:spcPts val="0"/>
              </a:spcBef>
              <a:buSzTx/>
              <a:buNone/>
              <a:defRPr lang="sv-SE" sz="8000" b="0" spc="-159">
                <a:latin typeface="Euclid Circular B SemiBold"/>
                <a:ea typeface="Euclid Circular B SemiBold"/>
                <a:cs typeface="Euclid Circular B SemiBold"/>
                <a:sym typeface="Euclid Circular B SemiBold"/>
              </a:defRPr>
            </a:lvl1pPr>
          </a:lstStyle>
          <a:p>
            <a:pPr defTabSz="457200">
              <a:lnSpc>
                <a:spcPct val="90000"/>
              </a:lnSpc>
              <a:defRPr sz="8000" b="0" spc="-159">
                <a:latin typeface="Euclid Circular B SemiBold"/>
                <a:ea typeface="Euclid Circular B SemiBold"/>
                <a:cs typeface="Euclid Circular B SemiBold"/>
                <a:sym typeface="Euclid Circular B SemiBold"/>
              </a:defRPr>
            </a:pPr>
            <a:r>
              <a:rPr lang="sv-SE">
                <a:latin typeface="+mj-lt"/>
              </a:rPr>
              <a:t>“</a:t>
            </a:r>
          </a:p>
          <a:p>
            <a:pPr defTabSz="457200">
              <a:lnSpc>
                <a:spcPct val="90000"/>
              </a:lnSpc>
              <a:defRPr sz="8000" b="0" spc="-159">
                <a:latin typeface="Euclid Circular B SemiBold"/>
                <a:ea typeface="Euclid Circular B SemiBold"/>
                <a:cs typeface="Euclid Circular B SemiBold"/>
                <a:sym typeface="Euclid Circular B SemiBold"/>
              </a:defRPr>
            </a:pPr>
            <a:r>
              <a:rPr lang="sv-SE">
                <a:latin typeface="+mj-lt"/>
              </a:rPr>
              <a:t>Ett citat </a:t>
            </a:r>
            <a:r>
              <a:rPr lang="sv-SE" err="1">
                <a:latin typeface="+mj-lt"/>
              </a:rPr>
              <a:t>dolor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sit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amet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consectetur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adipiscing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elitia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justo</a:t>
            </a:r>
            <a:r>
              <a:rPr lang="sv-SE">
                <a:latin typeface="+mj-lt"/>
              </a:rPr>
              <a:t> eget </a:t>
            </a:r>
            <a:r>
              <a:rPr lang="sv-SE" err="1">
                <a:latin typeface="+mj-lt"/>
              </a:rPr>
              <a:t>nislo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ullam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corper</a:t>
            </a:r>
            <a:r>
              <a:rPr lang="sv-SE">
                <a:latin typeface="+mj-lt"/>
              </a:rPr>
              <a:t> ide </a:t>
            </a:r>
            <a:r>
              <a:rPr lang="sv-SE" err="1">
                <a:latin typeface="+mj-lt"/>
              </a:rPr>
              <a:t>ornare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lacerat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diam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fermentum</a:t>
            </a:r>
            <a:r>
              <a:rPr lang="sv-SE">
                <a:latin typeface="+mj-lt"/>
              </a:rPr>
              <a:t>.</a:t>
            </a:r>
          </a:p>
          <a:p>
            <a:pPr defTabSz="457200">
              <a:lnSpc>
                <a:spcPct val="90000"/>
              </a:lnSpc>
              <a:defRPr sz="8000" b="0" spc="-159">
                <a:latin typeface="Euclid Circular B SemiBold"/>
                <a:ea typeface="Euclid Circular B SemiBold"/>
                <a:cs typeface="Euclid Circular B SemiBold"/>
                <a:sym typeface="Euclid Circular B SemiBold"/>
              </a:defRPr>
            </a:pPr>
            <a:r>
              <a:rPr lang="sv-SE">
                <a:latin typeface="+mj-lt"/>
              </a:rPr>
              <a:t>“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C79198E8-9820-4883-AEAE-77B55DC770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14" y="651195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65863628"/>
      </p:ext>
    </p:extLst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5F62601B-347C-459E-848F-FA9E93BA10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14" y="651195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08706202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Kapitelmall lå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">
            <a:extLst>
              <a:ext uri="{FF2B5EF4-FFF2-40B4-BE49-F238E27FC236}">
                <a16:creationId xmlns:a16="http://schemas.microsoft.com/office/drawing/2014/main" id="{B8B8975B-896F-43D9-B44C-C96774FEB378}"/>
              </a:ext>
            </a:extLst>
          </p:cNvPr>
          <p:cNvSpPr/>
          <p:nvPr/>
        </p:nvSpPr>
        <p:spPr>
          <a:xfrm>
            <a:off x="5810717" y="4035343"/>
            <a:ext cx="570566" cy="0"/>
          </a:xfrm>
          <a:prstGeom prst="line">
            <a:avLst/>
          </a:prstGeom>
          <a:ln w="114300">
            <a:solidFill>
              <a:srgbClr val="FFFFFF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latin typeface="+mj-lt"/>
            </a:endParaRPr>
          </a:p>
        </p:txBody>
      </p:sp>
      <p:sp>
        <p:nvSpPr>
          <p:cNvPr id="93" name="–Johnny Appleseed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3029115" y="4556649"/>
            <a:ext cx="6133771" cy="51296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dirty="0"/>
            </a:lvl1pPr>
          </a:lstStyle>
          <a:p>
            <a:r>
              <a:rPr lang="sv-SE">
                <a:latin typeface="+mn-lt"/>
              </a:rPr>
              <a:t>En underrubrik om det behövs</a:t>
            </a:r>
          </a:p>
        </p:txBody>
      </p:sp>
      <p:sp>
        <p:nvSpPr>
          <p:cNvPr id="94" name="“Type a quote here.”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2197647" y="1633637"/>
            <a:ext cx="7796705" cy="1795363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5500" dirty="0"/>
            </a:lvl1pPr>
          </a:lstStyle>
          <a:p>
            <a:r>
              <a:rPr lang="sv-SE">
                <a:latin typeface="+mj-lt"/>
              </a:rPr>
              <a:t>En centrerad lite längre rubrik på två r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89575EE-F3C5-4822-8EC0-4EF2E344BE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7"/>
            <a:ext cx="384644" cy="28166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8114D91-4524-0541-9CCE-86E92887A391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89801257"/>
      </p:ext>
    </p:extLst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Kapitelmall lå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">
            <a:extLst>
              <a:ext uri="{FF2B5EF4-FFF2-40B4-BE49-F238E27FC236}">
                <a16:creationId xmlns:a16="http://schemas.microsoft.com/office/drawing/2014/main" id="{B8B8975B-896F-43D9-B44C-C96774FEB378}"/>
              </a:ext>
            </a:extLst>
          </p:cNvPr>
          <p:cNvSpPr/>
          <p:nvPr/>
        </p:nvSpPr>
        <p:spPr>
          <a:xfrm>
            <a:off x="5810717" y="4035343"/>
            <a:ext cx="570566" cy="0"/>
          </a:xfrm>
          <a:prstGeom prst="line">
            <a:avLst/>
          </a:prstGeom>
          <a:ln w="114300">
            <a:solidFill>
              <a:srgbClr val="FFFFFF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latin typeface="+mj-lt"/>
            </a:endParaRPr>
          </a:p>
        </p:txBody>
      </p:sp>
      <p:sp>
        <p:nvSpPr>
          <p:cNvPr id="93" name="–Johnny Appleseed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3029115" y="4556649"/>
            <a:ext cx="6133771" cy="51296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dirty="0"/>
            </a:lvl1pPr>
          </a:lstStyle>
          <a:p>
            <a:r>
              <a:rPr lang="sv-SE">
                <a:latin typeface="+mn-lt"/>
              </a:rPr>
              <a:t>En underrubrik om det behövs</a:t>
            </a:r>
          </a:p>
        </p:txBody>
      </p:sp>
      <p:sp>
        <p:nvSpPr>
          <p:cNvPr id="94" name="“Type a quote here.”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2197647" y="1633637"/>
            <a:ext cx="7796705" cy="1795363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5500" dirty="0"/>
            </a:lvl1pPr>
          </a:lstStyle>
          <a:p>
            <a:r>
              <a:rPr lang="sv-SE">
                <a:latin typeface="+mj-lt"/>
              </a:rPr>
              <a:t>En centrerad lite längre rubrik på två rader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1EAE207-3430-4549-A074-A342C1C170B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41177" y="6213423"/>
            <a:ext cx="503810" cy="503810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89575EE-F3C5-4822-8EC0-4EF2E344BE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7"/>
            <a:ext cx="384644" cy="281665"/>
          </a:xfrm>
        </p:spPr>
        <p:txBody>
          <a:bodyPr/>
          <a:lstStyle/>
          <a:p>
            <a:fld id="{86CB4B4D-7CA3-9044-876B-883B54F8677D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0E8224E2-34E0-4E45-9125-5E6BA8331065}"/>
              </a:ext>
            </a:extLst>
          </p:cNvPr>
          <p:cNvSpPr/>
          <p:nvPr userDrawn="1"/>
        </p:nvSpPr>
        <p:spPr>
          <a:xfrm>
            <a:off x="2351584" y="1484784"/>
            <a:ext cx="6480720" cy="3240360"/>
          </a:xfrm>
          <a:prstGeom prst="ellipse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sv-S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1620393827"/>
      </p:ext>
    </p:extLst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nnehållsmal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876891" y="811402"/>
            <a:ext cx="8864845" cy="1143001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lang="sv-SE" sz="4000" dirty="0"/>
            </a:lvl1pPr>
          </a:lstStyle>
          <a:p>
            <a:r>
              <a:rPr lang="sv-SE">
                <a:latin typeface="+mj-lt"/>
              </a:rPr>
              <a:t>En längre vänsterställd rubrik på två rader med färgad bakgrund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5844113-D91C-4C16-A203-0259235C89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14" y="651195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1E415B6-73A7-45CC-8056-9D8F1C356B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41177" y="6213423"/>
            <a:ext cx="504000" cy="504000"/>
          </a:xfrm>
          <a:prstGeom prst="rect">
            <a:avLst/>
          </a:prstGeom>
        </p:spPr>
      </p:pic>
      <p:sp>
        <p:nvSpPr>
          <p:cNvPr id="2" name="Oval 1">
            <a:extLst>
              <a:ext uri="{FF2B5EF4-FFF2-40B4-BE49-F238E27FC236}">
                <a16:creationId xmlns:a16="http://schemas.microsoft.com/office/drawing/2014/main" id="{8E7C7AEF-D324-4185-8247-3EE3D12E346D}"/>
              </a:ext>
            </a:extLst>
          </p:cNvPr>
          <p:cNvSpPr/>
          <p:nvPr userDrawn="1"/>
        </p:nvSpPr>
        <p:spPr>
          <a:xfrm>
            <a:off x="3143672" y="2924944"/>
            <a:ext cx="7920880" cy="1368152"/>
          </a:xfrm>
          <a:prstGeom prst="ellipse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sv-S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3469833347"/>
      </p:ext>
    </p:extLst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ehållsmall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876891" y="811402"/>
            <a:ext cx="8864845" cy="1143001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lang="sv-SE" sz="4000" dirty="0"/>
            </a:lvl1pPr>
          </a:lstStyle>
          <a:p>
            <a:r>
              <a:rPr lang="sv-SE">
                <a:latin typeface="+mj-lt"/>
              </a:rPr>
              <a:t>En längre vänsterställd rubrik på två rader med färgad bakgrun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8EAE1A8-A5D7-46F5-9434-652A6A0C1F0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41177" y="6213423"/>
            <a:ext cx="503810" cy="503810"/>
          </a:xfrm>
          <a:prstGeom prst="rect">
            <a:avLst/>
          </a:prstGeom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F3B512AE-A1A6-46EE-87D8-9B537E23B8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7"/>
            <a:ext cx="384644" cy="281665"/>
          </a:xfrm>
        </p:spPr>
        <p:txBody>
          <a:bodyPr/>
          <a:lstStyle/>
          <a:p>
            <a:fld id="{86CB4B4D-7CA3-9044-876B-883B54F8677D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F2BFAFAE-A9AB-419F-A667-243033D8E5E8}"/>
              </a:ext>
            </a:extLst>
          </p:cNvPr>
          <p:cNvSpPr/>
          <p:nvPr userDrawn="1"/>
        </p:nvSpPr>
        <p:spPr>
          <a:xfrm>
            <a:off x="3647728" y="2996952"/>
            <a:ext cx="4752528" cy="2232248"/>
          </a:xfrm>
          <a:prstGeom prst="ellipse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sv-SE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2078261825"/>
      </p:ext>
    </p:extLst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Inled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–Johnny Appleseed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874115" y="4538638"/>
            <a:ext cx="5206608" cy="51296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>
              <a:spcBef>
                <a:spcPts val="0"/>
              </a:spcBef>
              <a:buSzTx/>
              <a:buNone/>
              <a:defRPr lang="sv-SE" dirty="0">
                <a:cs typeface="Arial" panose="020B0604020202020204" pitchFamily="34" charset="0"/>
              </a:defRPr>
            </a:lvl1pPr>
          </a:lstStyle>
          <a:p>
            <a:r>
              <a:rPr lang="sv-SE">
                <a:latin typeface="+mn-lt"/>
                <a:cs typeface="Arial" panose="020B0604020202020204" pitchFamily="34" charset="0"/>
              </a:rPr>
              <a:t>Jane Doe Smith</a:t>
            </a:r>
          </a:p>
        </p:txBody>
      </p:sp>
      <p:sp>
        <p:nvSpPr>
          <p:cNvPr id="94" name="“Type a quote here.”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853222" y="1746025"/>
            <a:ext cx="7796705" cy="179536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SzTx/>
              <a:buNone/>
              <a:defRPr lang="sv-SE" sz="5500" dirty="0">
                <a:cs typeface="Arial" panose="020B0604020202020204" pitchFamily="34" charset="0"/>
              </a:defRPr>
            </a:lvl1pPr>
          </a:lstStyle>
          <a:p>
            <a:r>
              <a:rPr lang="sv-SE">
                <a:latin typeface="+mj-lt"/>
                <a:cs typeface="Arial" panose="020B0604020202020204" pitchFamily="34" charset="0"/>
              </a:rPr>
              <a:t>En längre vänsterställd rubrik på två rader</a:t>
            </a:r>
          </a:p>
        </p:txBody>
      </p:sp>
      <p:sp>
        <p:nvSpPr>
          <p:cNvPr id="8" name="Line">
            <a:extLst>
              <a:ext uri="{FF2B5EF4-FFF2-40B4-BE49-F238E27FC236}">
                <a16:creationId xmlns:a16="http://schemas.microsoft.com/office/drawing/2014/main" id="{A789D315-9205-4977-ACEC-06FBEF7C276A}"/>
              </a:ext>
            </a:extLst>
          </p:cNvPr>
          <p:cNvSpPr/>
          <p:nvPr/>
        </p:nvSpPr>
        <p:spPr>
          <a:xfrm>
            <a:off x="939258" y="4056176"/>
            <a:ext cx="570566" cy="0"/>
          </a:xfrm>
          <a:prstGeom prst="line">
            <a:avLst/>
          </a:prstGeom>
          <a:ln w="114300">
            <a:solidFill>
              <a:schemeClr val="tx1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ln>
                <a:solidFill>
                  <a:schemeClr val="tx1"/>
                </a:solidFill>
              </a:ln>
              <a:latin typeface="+mj-lt"/>
            </a:endParaRPr>
          </a:p>
        </p:txBody>
      </p:sp>
      <p:sp>
        <p:nvSpPr>
          <p:cNvPr id="9" name="© www.partsradet.se">
            <a:extLst>
              <a:ext uri="{FF2B5EF4-FFF2-40B4-BE49-F238E27FC236}">
                <a16:creationId xmlns:a16="http://schemas.microsoft.com/office/drawing/2014/main" id="{B8B2AE36-23EE-4F4C-8585-ADA092848124}"/>
              </a:ext>
            </a:extLst>
          </p:cNvPr>
          <p:cNvSpPr txBox="1"/>
          <p:nvPr/>
        </p:nvSpPr>
        <p:spPr>
          <a:xfrm>
            <a:off x="934142" y="6094017"/>
            <a:ext cx="989053" cy="17197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 algn="l">
              <a:lnSpc>
                <a:spcPct val="120000"/>
              </a:lnSpc>
              <a:defRPr sz="1400" b="0" cap="all">
                <a:solidFill>
                  <a:srgbClr val="FFFFFF"/>
                </a:solidFill>
                <a:latin typeface="Euclid Circular A Regular"/>
                <a:ea typeface="Euclid Circular A Regular"/>
                <a:cs typeface="Euclid Circular A Regular"/>
                <a:sym typeface="Euclid Circular A Regular"/>
              </a:defRPr>
            </a:lvl1pPr>
          </a:lstStyle>
          <a:p>
            <a:r>
              <a:rPr sz="70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© www.partsradet.s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1E14AF3-57ED-40B2-B029-D50596E8DF0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8332" y="636810"/>
            <a:ext cx="2786400" cy="543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3239135"/>
      </p:ext>
    </p:extLst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Kapitelmall k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–Johnny Appleseed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3029115" y="4099449"/>
            <a:ext cx="6133771" cy="564257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3000" dirty="0"/>
            </a:lvl1pPr>
          </a:lstStyle>
          <a:p>
            <a:r>
              <a:rPr lang="sv-SE">
                <a:latin typeface="+mn-lt"/>
              </a:rPr>
              <a:t>En underrubrik om det behövs</a:t>
            </a:r>
          </a:p>
        </p:txBody>
      </p:sp>
      <p:sp>
        <p:nvSpPr>
          <p:cNvPr id="94" name="“Type a quote here.”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2196060" y="2322190"/>
            <a:ext cx="7796705" cy="94897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5500" dirty="0"/>
            </a:lvl1pPr>
          </a:lstStyle>
          <a:p>
            <a:r>
              <a:rPr lang="sv-SE">
                <a:latin typeface="+mj-lt"/>
              </a:rPr>
              <a:t>En centrerad kort rubrik</a:t>
            </a:r>
          </a:p>
        </p:txBody>
      </p:sp>
      <p:sp>
        <p:nvSpPr>
          <p:cNvPr id="6" name="Line">
            <a:extLst>
              <a:ext uri="{FF2B5EF4-FFF2-40B4-BE49-F238E27FC236}">
                <a16:creationId xmlns:a16="http://schemas.microsoft.com/office/drawing/2014/main" id="{2DCC2E31-9B7C-4173-840A-E3FE37A11D0E}"/>
              </a:ext>
            </a:extLst>
          </p:cNvPr>
          <p:cNvSpPr/>
          <p:nvPr/>
        </p:nvSpPr>
        <p:spPr>
          <a:xfrm>
            <a:off x="5793229" y="3638150"/>
            <a:ext cx="570566" cy="0"/>
          </a:xfrm>
          <a:prstGeom prst="line">
            <a:avLst/>
          </a:prstGeom>
          <a:ln w="114300">
            <a:solidFill>
              <a:schemeClr val="tx1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latin typeface="+mj-lt"/>
            </a:endParaRP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6B8EAB73-6B54-4644-90AE-F42D233DC2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14" y="651195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66379695"/>
      </p:ext>
    </p:extLst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mall lå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–Johnny Appleseed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3029115" y="4556649"/>
            <a:ext cx="6133771" cy="51296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dirty="0"/>
            </a:lvl1pPr>
          </a:lstStyle>
          <a:p>
            <a:r>
              <a:rPr lang="sv-SE">
                <a:latin typeface="+mn-lt"/>
              </a:rPr>
              <a:t>En underrubrik om det behövs</a:t>
            </a:r>
          </a:p>
        </p:txBody>
      </p:sp>
      <p:sp>
        <p:nvSpPr>
          <p:cNvPr id="6" name="Line">
            <a:extLst>
              <a:ext uri="{FF2B5EF4-FFF2-40B4-BE49-F238E27FC236}">
                <a16:creationId xmlns:a16="http://schemas.microsoft.com/office/drawing/2014/main" id="{30810000-F07B-4B40-BBF5-0AEABB13A604}"/>
              </a:ext>
            </a:extLst>
          </p:cNvPr>
          <p:cNvSpPr/>
          <p:nvPr/>
        </p:nvSpPr>
        <p:spPr>
          <a:xfrm>
            <a:off x="5810717" y="4035343"/>
            <a:ext cx="570566" cy="0"/>
          </a:xfrm>
          <a:prstGeom prst="line">
            <a:avLst/>
          </a:prstGeom>
          <a:ln w="114300">
            <a:solidFill>
              <a:schemeClr val="tx1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latin typeface="+mj-lt"/>
            </a:endParaRP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56BBE496-89B8-4172-8469-3D63391309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14" y="651195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  <p:sp>
        <p:nvSpPr>
          <p:cNvPr id="9" name="“Type a quote here.”">
            <a:extLst>
              <a:ext uri="{FF2B5EF4-FFF2-40B4-BE49-F238E27FC236}">
                <a16:creationId xmlns:a16="http://schemas.microsoft.com/office/drawing/2014/main" id="{1E48D5FA-DE18-4193-A6E2-F77C01DA9209}"/>
              </a:ext>
            </a:extLst>
          </p:cNvPr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2197647" y="1633637"/>
            <a:ext cx="7796705" cy="1795363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5500" dirty="0"/>
            </a:lvl1pPr>
          </a:lstStyle>
          <a:p>
            <a:r>
              <a:rPr lang="sv-SE">
                <a:latin typeface="+mj-lt"/>
              </a:rPr>
              <a:t>En centrerad lite längre rubrik på två rader</a:t>
            </a:r>
          </a:p>
        </p:txBody>
      </p:sp>
    </p:spTree>
    <p:extLst>
      <p:ext uri="{BB962C8B-B14F-4D97-AF65-F5344CB8AC3E}">
        <p14:creationId xmlns:p14="http://schemas.microsoft.com/office/powerpoint/2010/main" val="3465189043"/>
      </p:ext>
    </p:extLst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ehållsmal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876891" y="811402"/>
            <a:ext cx="8864845" cy="1143001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lang="sv-SE" sz="4000" dirty="0"/>
            </a:lvl1pPr>
          </a:lstStyle>
          <a:p>
            <a:r>
              <a:rPr lang="sv-SE">
                <a:latin typeface="+mj-lt"/>
              </a:rPr>
              <a:t>En längre vänsterställd rubrik på två rader med färgad bakgrund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94ACA180-D5F9-4B2B-B1AB-3B875289D21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6891" y="2481120"/>
            <a:ext cx="9949664" cy="3565479"/>
          </a:xfrm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 sz="2200"/>
            </a:lvl2pPr>
            <a:lvl3pPr>
              <a:buClr>
                <a:schemeClr val="tx2"/>
              </a:buClr>
              <a:defRPr sz="2000"/>
            </a:lvl3pPr>
            <a:lvl4pPr>
              <a:buClr>
                <a:schemeClr val="tx2"/>
              </a:buClr>
              <a:defRPr sz="1800"/>
            </a:lvl4pPr>
            <a:lvl5pPr>
              <a:buClr>
                <a:schemeClr val="tx2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31040365-AF2E-4DD1-9068-99322A2B72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14" y="651195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83576291"/>
      </p:ext>
    </p:extLst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nnehållsmal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876891" y="811402"/>
            <a:ext cx="8864845" cy="1143001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lang="sv-SE" sz="4000" dirty="0"/>
            </a:lvl1pPr>
          </a:lstStyle>
          <a:p>
            <a:r>
              <a:rPr lang="sv-SE">
                <a:latin typeface="+mj-lt"/>
              </a:rPr>
              <a:t>En längre vänsterställd rubrik på två rader med färgad bakgrund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75844113-D91C-4C16-A203-0259235C89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14" y="651195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08784669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ehållsmal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876891" y="811402"/>
            <a:ext cx="8078525" cy="114300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lang="sv-SE" sz="4000" smtClean="0"/>
            </a:lvl1pPr>
          </a:lstStyle>
          <a:p>
            <a:r>
              <a:rPr lang="sv-SE">
                <a:latin typeface="+mj-lt"/>
              </a:rPr>
              <a:t>En lång vänsterställd rubrik på två rader med en hel del text</a:t>
            </a:r>
            <a:endParaRPr/>
          </a:p>
        </p:txBody>
      </p:sp>
      <p:sp>
        <p:nvSpPr>
          <p:cNvPr id="8" name="Body Level One…">
            <a:extLst>
              <a:ext uri="{FF2B5EF4-FFF2-40B4-BE49-F238E27FC236}">
                <a16:creationId xmlns:a16="http://schemas.microsoft.com/office/drawing/2014/main" id="{63146072-14B8-4D30-92C1-8A4AC3DEB61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876891" y="2522637"/>
            <a:ext cx="4527726" cy="3244542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  <a:lvl2pPr marL="317500" indent="0">
              <a:buNone/>
              <a:defRPr sz="1800"/>
            </a:lvl2pPr>
            <a:lvl3pPr marL="635000" indent="0">
              <a:buNone/>
              <a:defRPr sz="1800"/>
            </a:lvl3pPr>
            <a:lvl4pPr marL="952500" indent="0">
              <a:buNone/>
              <a:defRPr sz="1800"/>
            </a:lvl4pPr>
            <a:lvl5pPr marL="1270000" indent="0">
              <a:buNone/>
              <a:defRPr sz="1800"/>
            </a:lvl5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9" name="Body Level One…">
            <a:extLst>
              <a:ext uri="{FF2B5EF4-FFF2-40B4-BE49-F238E27FC236}">
                <a16:creationId xmlns:a16="http://schemas.microsoft.com/office/drawing/2014/main" id="{AC3CB629-A935-4C14-86D7-17401DE425E6}"/>
              </a:ext>
            </a:extLst>
          </p:cNvPr>
          <p:cNvSpPr txBox="1">
            <a:spLocks noGrp="1"/>
          </p:cNvSpPr>
          <p:nvPr>
            <p:ph type="body" idx="10" hasCustomPrompt="1"/>
          </p:nvPr>
        </p:nvSpPr>
        <p:spPr>
          <a:xfrm>
            <a:off x="6270539" y="2522637"/>
            <a:ext cx="4527726" cy="3244542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  <a:lvl2pPr marL="317500" indent="0">
              <a:buNone/>
              <a:defRPr sz="1800"/>
            </a:lvl2pPr>
            <a:lvl3pPr marL="635000" indent="0">
              <a:buNone/>
              <a:defRPr sz="1800"/>
            </a:lvl3pPr>
            <a:lvl4pPr marL="952500" indent="0">
              <a:buNone/>
              <a:defRPr sz="1800"/>
            </a:lvl4pPr>
            <a:lvl5pPr marL="1270000" indent="0">
              <a:buNone/>
              <a:defRPr sz="1800"/>
            </a:lvl5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7328FE0B-DF46-4EC0-A1D1-051121E660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14" y="651195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79403293"/>
      </p:ext>
    </p:extLst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Innehållsmall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Image"/>
          <p:cNvSpPr>
            <a:spLocks noGrp="1"/>
          </p:cNvSpPr>
          <p:nvPr>
            <p:ph type="pic" sz="half" idx="13"/>
          </p:nvPr>
        </p:nvSpPr>
        <p:spPr>
          <a:xfrm>
            <a:off x="0" y="0"/>
            <a:ext cx="5338148" cy="6858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39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6238356" y="874902"/>
            <a:ext cx="5111750" cy="1159292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lang="sv-SE" sz="4000" dirty="0"/>
            </a:lvl1pPr>
          </a:lstStyle>
          <a:p>
            <a:r>
              <a:rPr lang="sv-SE">
                <a:latin typeface="+mj-lt"/>
              </a:rPr>
              <a:t>En lite längre rubrik på två rader</a:t>
            </a:r>
          </a:p>
        </p:txBody>
      </p:sp>
      <p:sp>
        <p:nvSpPr>
          <p:cNvPr id="40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6270539" y="2610132"/>
            <a:ext cx="5044285" cy="2586157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 defTabSz="228600">
              <a:lnSpc>
                <a:spcPct val="130000"/>
              </a:lnSpc>
              <a:spcBef>
                <a:spcPts val="0"/>
              </a:spcBef>
              <a:buSzTx/>
              <a:buNone/>
              <a:defRPr lang="sv-SE"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lvl1pPr>
            <a:lvl2pPr marL="0" indent="0" algn="l">
              <a:spcBef>
                <a:spcPts val="0"/>
              </a:spcBef>
              <a:buSzTx/>
              <a:buNone/>
              <a:defRPr sz="1550"/>
            </a:lvl2pPr>
            <a:lvl3pPr marL="0" indent="0" algn="l">
              <a:spcBef>
                <a:spcPts val="0"/>
              </a:spcBef>
              <a:buSzTx/>
              <a:buNone/>
              <a:defRPr sz="1550"/>
            </a:lvl3pPr>
            <a:lvl4pPr marL="0" indent="0" algn="l">
              <a:spcBef>
                <a:spcPts val="0"/>
              </a:spcBef>
              <a:buSzTx/>
              <a:buNone/>
              <a:defRPr sz="1550"/>
            </a:lvl4pPr>
            <a:lvl5pPr marL="0" indent="0" algn="l">
              <a:spcBef>
                <a:spcPts val="0"/>
              </a:spcBef>
              <a:buSzTx/>
              <a:buNone/>
              <a:defRPr sz="1550"/>
            </a:lvl5pPr>
          </a:lstStyle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400" err="1">
                <a:latin typeface="+mn-lt"/>
              </a:rPr>
              <a:t>Lore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ips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dolo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sit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met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nsectetu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dipiscing</a:t>
            </a:r>
            <a:r>
              <a:rPr lang="sv-SE" sz="1400">
                <a:latin typeface="+mn-lt"/>
              </a:rPr>
              <a:t> elit. </a:t>
            </a:r>
            <a:r>
              <a:rPr lang="sv-SE" sz="1400" err="1">
                <a:latin typeface="+mn-lt"/>
              </a:rPr>
              <a:t>Phasellus</a:t>
            </a:r>
            <a:r>
              <a:rPr lang="sv-SE" sz="1400">
                <a:latin typeface="+mn-lt"/>
              </a:rPr>
              <a:t> gravida </a:t>
            </a:r>
            <a:r>
              <a:rPr lang="sv-SE" sz="1400" err="1">
                <a:latin typeface="+mn-lt"/>
              </a:rPr>
              <a:t>justo</a:t>
            </a:r>
            <a:r>
              <a:rPr lang="sv-SE" sz="1400">
                <a:latin typeface="+mn-lt"/>
              </a:rPr>
              <a:t> eget </a:t>
            </a:r>
            <a:r>
              <a:rPr lang="sv-SE" sz="1400" err="1">
                <a:latin typeface="+mn-lt"/>
              </a:rPr>
              <a:t>nislo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ulla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rper</a:t>
            </a:r>
            <a:r>
              <a:rPr lang="sv-SE" sz="1400">
                <a:latin typeface="+mn-lt"/>
              </a:rPr>
              <a:t> id </a:t>
            </a:r>
            <a:r>
              <a:rPr lang="sv-SE" sz="1400" err="1">
                <a:latin typeface="+mn-lt"/>
              </a:rPr>
              <a:t>ornare</a:t>
            </a:r>
            <a:r>
              <a:rPr lang="sv-SE" sz="1400">
                <a:latin typeface="+mn-lt"/>
              </a:rPr>
              <a:t> mi </a:t>
            </a:r>
            <a:r>
              <a:rPr lang="sv-SE" sz="1400" err="1">
                <a:latin typeface="+mn-lt"/>
              </a:rPr>
              <a:t>imperdiet</a:t>
            </a:r>
            <a:r>
              <a:rPr lang="sv-SE" sz="1400">
                <a:latin typeface="+mn-lt"/>
              </a:rPr>
              <a:t>. In </a:t>
            </a:r>
            <a:r>
              <a:rPr lang="sv-SE" sz="1400" err="1">
                <a:latin typeface="+mn-lt"/>
              </a:rPr>
              <a:t>plaacerat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dia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ferment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ucto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ips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vehicula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lacinia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metuso</a:t>
            </a:r>
            <a:r>
              <a:rPr lang="sv-SE" sz="1400">
                <a:latin typeface="+mn-lt"/>
              </a:rPr>
              <a:t> de </a:t>
            </a:r>
            <a:r>
              <a:rPr lang="sv-SE" sz="1400" err="1">
                <a:latin typeface="+mn-lt"/>
              </a:rPr>
              <a:t>vecchio</a:t>
            </a:r>
            <a:r>
              <a:rPr lang="sv-SE" sz="1400">
                <a:latin typeface="+mn-lt"/>
              </a:rPr>
              <a:t>.</a:t>
            </a:r>
          </a:p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endParaRPr lang="sv-SE" sz="1400">
              <a:latin typeface="+mn-lt"/>
            </a:endParaRPr>
          </a:p>
          <a:p>
            <a:pPr algn="l" defTabSz="457200">
              <a:lnSpc>
                <a:spcPct val="130000"/>
              </a:lnSpc>
              <a:defRPr sz="2800" b="0">
                <a:latin typeface="Euclid Circular B SemiBold"/>
                <a:ea typeface="Euclid Circular B SemiBold"/>
                <a:cs typeface="Euclid Circular B SemiBold"/>
                <a:sym typeface="Euclid Circular B SemiBold"/>
              </a:defRPr>
            </a:pPr>
            <a:r>
              <a:rPr lang="sv-SE" sz="1400">
                <a:latin typeface="+mn-lt"/>
                <a:ea typeface="Euclid Circular A SemiBold" panose="020B0704000000000000" pitchFamily="34" charset="0"/>
              </a:rPr>
              <a:t>En underrubrik i texten</a:t>
            </a:r>
          </a:p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400">
                <a:latin typeface="+mn-lt"/>
              </a:rPr>
              <a:t>Mauris non </a:t>
            </a:r>
            <a:r>
              <a:rPr lang="sv-SE" sz="1400" err="1">
                <a:latin typeface="+mn-lt"/>
              </a:rPr>
              <a:t>dolor</a:t>
            </a:r>
            <a:r>
              <a:rPr lang="sv-SE" sz="1400">
                <a:latin typeface="+mn-lt"/>
              </a:rPr>
              <a:t> non </a:t>
            </a:r>
            <a:r>
              <a:rPr lang="sv-SE" sz="1400" err="1">
                <a:latin typeface="+mn-lt"/>
              </a:rPr>
              <a:t>metus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preti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ngue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phasellus</a:t>
            </a:r>
            <a:r>
              <a:rPr lang="sv-SE" sz="1400">
                <a:latin typeface="+mn-lt"/>
              </a:rPr>
              <a:t> gravida </a:t>
            </a:r>
            <a:r>
              <a:rPr lang="sv-SE" sz="1400" err="1">
                <a:latin typeface="+mn-lt"/>
              </a:rPr>
              <a:t>justo</a:t>
            </a:r>
            <a:r>
              <a:rPr lang="sv-SE" sz="1400">
                <a:latin typeface="+mn-lt"/>
              </a:rPr>
              <a:t> eget </a:t>
            </a:r>
            <a:r>
              <a:rPr lang="sv-SE" sz="1400" err="1">
                <a:latin typeface="+mn-lt"/>
              </a:rPr>
              <a:t>nislo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ulla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rper</a:t>
            </a:r>
            <a:r>
              <a:rPr lang="sv-SE" sz="1400">
                <a:latin typeface="+mn-lt"/>
              </a:rPr>
              <a:t>.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592F750-F665-4091-A073-2B26BA880B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419700" y="646532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36720341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ehållsmal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4FC9CEB-B72A-4ED0-92D8-DA660390AE5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6891" y="2481120"/>
            <a:ext cx="9949664" cy="2831678"/>
          </a:xfrm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 sz="2200"/>
            </a:lvl2pPr>
            <a:lvl3pPr>
              <a:buClr>
                <a:schemeClr val="tx2"/>
              </a:buClr>
              <a:defRPr sz="2000"/>
            </a:lvl3pPr>
            <a:lvl4pPr>
              <a:buClr>
                <a:schemeClr val="tx2"/>
              </a:buClr>
              <a:defRPr sz="1800"/>
            </a:lvl4pPr>
            <a:lvl5pPr>
              <a:buClr>
                <a:schemeClr val="tx2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56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876891" y="811402"/>
            <a:ext cx="8864845" cy="1143001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lang="sv-SE" sz="4000" dirty="0"/>
            </a:lvl1pPr>
          </a:lstStyle>
          <a:p>
            <a:r>
              <a:rPr lang="sv-SE">
                <a:latin typeface="+mj-lt"/>
              </a:rPr>
              <a:t>En längre vänsterställd rubrik på två rader med färgad bakgrund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C92FE0FA-B7B2-45D3-AA1B-A41FE67EE7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7"/>
            <a:ext cx="384644" cy="28166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8114D91-4524-0541-9CCE-86E92887A391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23062235"/>
      </p:ext>
    </p:extLst>
  </p:cSld>
  <p:clrMapOvr>
    <a:masterClrMapping/>
  </p:clrMapOvr>
  <p:transition spd="med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ehållsmall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Image"/>
          <p:cNvSpPr>
            <a:spLocks noGrp="1"/>
          </p:cNvSpPr>
          <p:nvPr>
            <p:ph type="pic" sz="half" idx="13"/>
          </p:nvPr>
        </p:nvSpPr>
        <p:spPr>
          <a:xfrm>
            <a:off x="0" y="0"/>
            <a:ext cx="5338148" cy="6858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39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6238356" y="874902"/>
            <a:ext cx="5111750" cy="1159292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000"/>
            </a:lvl1pPr>
          </a:lstStyle>
          <a:p>
            <a:r>
              <a:rPr lang="sv-SE"/>
              <a:t>En längre rubrik med </a:t>
            </a:r>
            <a:r>
              <a:rPr lang="sv-SE" err="1"/>
              <a:t>bullet</a:t>
            </a:r>
            <a:r>
              <a:rPr lang="sv-SE"/>
              <a:t> </a:t>
            </a:r>
            <a:r>
              <a:rPr lang="sv-SE" err="1"/>
              <a:t>points</a:t>
            </a:r>
            <a:endParaRPr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B25E7B1-DCCB-4999-BC42-B8512575CBD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38356" y="2374503"/>
            <a:ext cx="5044285" cy="2831678"/>
          </a:xfrm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 sz="2200"/>
            </a:lvl2pPr>
            <a:lvl3pPr>
              <a:buClr>
                <a:schemeClr val="tx2"/>
              </a:buClr>
              <a:defRPr sz="2000"/>
            </a:lvl3pPr>
            <a:lvl4pPr>
              <a:buClr>
                <a:schemeClr val="tx2"/>
              </a:buClr>
              <a:defRPr sz="1800"/>
            </a:lvl4pPr>
            <a:lvl5pPr>
              <a:buClr>
                <a:schemeClr val="tx2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6C21212-7C1F-4749-89D3-12390216C3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419700" y="646532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8738290"/>
      </p:ext>
    </p:extLst>
  </p:cSld>
  <p:clrMapOvr>
    <a:masterClrMapping/>
  </p:clrMapOvr>
  <p:transition spd="med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ehållsmall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Image"/>
          <p:cNvSpPr>
            <a:spLocks noGrp="1"/>
          </p:cNvSpPr>
          <p:nvPr>
            <p:ph type="pic" sz="half" idx="13"/>
          </p:nvPr>
        </p:nvSpPr>
        <p:spPr>
          <a:xfrm>
            <a:off x="6862296" y="-4910"/>
            <a:ext cx="5338148" cy="6858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39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874114" y="1441160"/>
            <a:ext cx="5221886" cy="593034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lang="sv-SE" sz="4000" dirty="0"/>
            </a:lvl1pPr>
          </a:lstStyle>
          <a:p>
            <a:r>
              <a:rPr lang="sv-SE">
                <a:latin typeface="+mj-lt"/>
              </a:rPr>
              <a:t>En kort rubrik</a:t>
            </a:r>
          </a:p>
        </p:txBody>
      </p:sp>
      <p:sp>
        <p:nvSpPr>
          <p:cNvPr id="8" name="Body Level One…">
            <a:extLst>
              <a:ext uri="{FF2B5EF4-FFF2-40B4-BE49-F238E27FC236}">
                <a16:creationId xmlns:a16="http://schemas.microsoft.com/office/drawing/2014/main" id="{16A2CEFA-D751-48FC-8537-5780947B6158}"/>
              </a:ext>
            </a:extLst>
          </p:cNvPr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874114" y="2456009"/>
            <a:ext cx="5186603" cy="1945982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 defTabSz="228600">
              <a:lnSpc>
                <a:spcPct val="130000"/>
              </a:lnSpc>
              <a:spcBef>
                <a:spcPts val="0"/>
              </a:spcBef>
              <a:buSzTx/>
              <a:buNone/>
              <a:defRPr lang="sv-SE"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lvl1pPr>
            <a:lvl2pPr marL="0" indent="0" algn="l">
              <a:spcBef>
                <a:spcPts val="0"/>
              </a:spcBef>
              <a:buSzTx/>
              <a:buNone/>
              <a:defRPr sz="1550"/>
            </a:lvl2pPr>
            <a:lvl3pPr marL="0" indent="0" algn="l">
              <a:spcBef>
                <a:spcPts val="0"/>
              </a:spcBef>
              <a:buSzTx/>
              <a:buNone/>
              <a:defRPr sz="1550"/>
            </a:lvl3pPr>
            <a:lvl4pPr marL="0" indent="0" algn="l">
              <a:spcBef>
                <a:spcPts val="0"/>
              </a:spcBef>
              <a:buSzTx/>
              <a:buNone/>
              <a:defRPr sz="1550"/>
            </a:lvl4pPr>
            <a:lvl5pPr marL="0" indent="0" algn="l">
              <a:spcBef>
                <a:spcPts val="0"/>
              </a:spcBef>
              <a:buSzTx/>
              <a:buNone/>
              <a:defRPr sz="1550"/>
            </a:lvl5pPr>
          </a:lstStyle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400" err="1">
                <a:latin typeface="+mn-lt"/>
              </a:rPr>
              <a:t>Lore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ips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dolo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sit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met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nsectetu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dipiscing</a:t>
            </a:r>
            <a:r>
              <a:rPr lang="sv-SE" sz="1400">
                <a:latin typeface="+mn-lt"/>
              </a:rPr>
              <a:t> elit. </a:t>
            </a:r>
            <a:r>
              <a:rPr lang="sv-SE" sz="1400" err="1">
                <a:latin typeface="+mn-lt"/>
              </a:rPr>
              <a:t>Phasellus</a:t>
            </a:r>
            <a:r>
              <a:rPr lang="sv-SE" sz="1400">
                <a:latin typeface="+mn-lt"/>
              </a:rPr>
              <a:t> gravida </a:t>
            </a:r>
            <a:r>
              <a:rPr lang="sv-SE" sz="1400" err="1">
                <a:latin typeface="+mn-lt"/>
              </a:rPr>
              <a:t>justo</a:t>
            </a:r>
            <a:r>
              <a:rPr lang="sv-SE" sz="1400">
                <a:latin typeface="+mn-lt"/>
              </a:rPr>
              <a:t> eget </a:t>
            </a:r>
            <a:r>
              <a:rPr lang="sv-SE" sz="1400" err="1">
                <a:latin typeface="+mn-lt"/>
              </a:rPr>
              <a:t>nislo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ulla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rper</a:t>
            </a:r>
            <a:r>
              <a:rPr lang="sv-SE" sz="1400">
                <a:latin typeface="+mn-lt"/>
              </a:rPr>
              <a:t> id </a:t>
            </a:r>
            <a:r>
              <a:rPr lang="sv-SE" sz="1400" err="1">
                <a:latin typeface="+mn-lt"/>
              </a:rPr>
              <a:t>ornare</a:t>
            </a:r>
            <a:r>
              <a:rPr lang="sv-SE" sz="1400">
                <a:latin typeface="+mn-lt"/>
              </a:rPr>
              <a:t> mi </a:t>
            </a:r>
            <a:r>
              <a:rPr lang="sv-SE" sz="1400" err="1">
                <a:latin typeface="+mn-lt"/>
              </a:rPr>
              <a:t>imperdiet</a:t>
            </a:r>
            <a:r>
              <a:rPr lang="sv-SE" sz="1400">
                <a:latin typeface="+mn-lt"/>
              </a:rPr>
              <a:t>. In placerat </a:t>
            </a:r>
            <a:r>
              <a:rPr lang="sv-SE" sz="1400" err="1">
                <a:latin typeface="+mn-lt"/>
              </a:rPr>
              <a:t>dia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ferment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ucto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ips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vehicula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lacinia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metuso</a:t>
            </a:r>
            <a:r>
              <a:rPr lang="sv-SE" sz="1400">
                <a:latin typeface="+mn-lt"/>
              </a:rPr>
              <a:t> de </a:t>
            </a:r>
            <a:r>
              <a:rPr lang="sv-SE" sz="1400" err="1">
                <a:latin typeface="+mn-lt"/>
              </a:rPr>
              <a:t>vecchio</a:t>
            </a:r>
            <a:r>
              <a:rPr lang="sv-SE" sz="1400">
                <a:latin typeface="+mn-lt"/>
              </a:rPr>
              <a:t>.</a:t>
            </a:r>
          </a:p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endParaRPr lang="sv-SE" sz="1400">
              <a:latin typeface="+mn-lt"/>
            </a:endParaRPr>
          </a:p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400">
                <a:latin typeface="+mn-lt"/>
              </a:rPr>
              <a:t>Mauris non </a:t>
            </a:r>
            <a:r>
              <a:rPr lang="sv-SE" sz="1400" err="1">
                <a:latin typeface="+mn-lt"/>
              </a:rPr>
              <a:t>dolor</a:t>
            </a:r>
            <a:r>
              <a:rPr lang="sv-SE" sz="1400">
                <a:latin typeface="+mn-lt"/>
              </a:rPr>
              <a:t> non </a:t>
            </a:r>
            <a:r>
              <a:rPr lang="sv-SE" sz="1400" err="1">
                <a:latin typeface="+mn-lt"/>
              </a:rPr>
              <a:t>metus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preti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ngue</a:t>
            </a:r>
            <a:r>
              <a:rPr lang="sv-SE" sz="1400">
                <a:latin typeface="+mn-lt"/>
              </a:rPr>
              <a:t>. 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AF4CD561-DD57-4EA1-A709-82E0BFE594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14" y="651195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95062921"/>
      </p:ext>
    </p:extLst>
  </p:cSld>
  <p:clrMapOvr>
    <a:masterClrMapping/>
  </p:clrMapOvr>
  <p:transition spd="med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Innehållsmall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–Johnny Appleseed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2585057" y="3822994"/>
            <a:ext cx="7021887" cy="1487587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3000" dirty="0"/>
            </a:lvl1pPr>
          </a:lstStyle>
          <a:p>
            <a:r>
              <a:rPr lang="sv-SE">
                <a:latin typeface="+mn-lt"/>
              </a:rPr>
              <a:t>Centrerad undertext i lite större storlek när man behöver att ett viktigt budskap ska ta lite extra plats.</a:t>
            </a:r>
          </a:p>
        </p:txBody>
      </p:sp>
      <p:sp>
        <p:nvSpPr>
          <p:cNvPr id="94" name="“Type a quote here.”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2523000" y="1372055"/>
            <a:ext cx="7146000" cy="13336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4000" dirty="0"/>
            </a:lvl1pPr>
          </a:lstStyle>
          <a:p>
            <a:r>
              <a:rPr lang="sv-SE">
                <a:latin typeface="+mj-lt"/>
              </a:rPr>
              <a:t>En längre centrerad rubrik med ett streck som bryter av </a:t>
            </a:r>
          </a:p>
        </p:txBody>
      </p:sp>
      <p:sp>
        <p:nvSpPr>
          <p:cNvPr id="6" name="Line">
            <a:extLst>
              <a:ext uri="{FF2B5EF4-FFF2-40B4-BE49-F238E27FC236}">
                <a16:creationId xmlns:a16="http://schemas.microsoft.com/office/drawing/2014/main" id="{089DD18C-C6ED-49CF-9BBB-999B77A1C878}"/>
              </a:ext>
            </a:extLst>
          </p:cNvPr>
          <p:cNvSpPr/>
          <p:nvPr/>
        </p:nvSpPr>
        <p:spPr>
          <a:xfrm>
            <a:off x="5810716" y="3255902"/>
            <a:ext cx="570566" cy="0"/>
          </a:xfrm>
          <a:prstGeom prst="line">
            <a:avLst/>
          </a:prstGeom>
          <a:ln w="114300">
            <a:solidFill>
              <a:schemeClr val="tx1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latin typeface="+mj-lt"/>
            </a:endParaRP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0248FC67-211A-4DD7-8DFE-EC1BB7E2D6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14" y="651195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79244645"/>
      </p:ext>
    </p:extLst>
  </p:cSld>
  <p:clrMapOvr>
    <a:masterClrMapping/>
  </p:clrMapOvr>
  <p:transition spd="med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ehållsmall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artsradet_national_museum__DSF0863.jpg" descr="Partsradet_national_museum__DSF0863.jpg">
            <a:extLst>
              <a:ext uri="{FF2B5EF4-FFF2-40B4-BE49-F238E27FC236}">
                <a16:creationId xmlns:a16="http://schemas.microsoft.com/office/drawing/2014/main" id="{5D326849-9AB8-47B1-A59D-9730F8C783F8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9927"/>
          </a:blip>
          <a:stretch>
            <a:fillRect/>
          </a:stretch>
        </p:blipFill>
        <p:spPr>
          <a:xfrm>
            <a:off x="1" y="0"/>
            <a:ext cx="12202847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94" name="“Type a quote here.”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1745638" y="2488914"/>
            <a:ext cx="8700725" cy="194925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4000" dirty="0"/>
            </a:lvl1pPr>
          </a:lstStyle>
          <a:p>
            <a:r>
              <a:rPr lang="sv-SE">
                <a:latin typeface="+mj-lt"/>
              </a:rPr>
              <a:t>En centrerad längre rubrik på flera rader med en nedtonad bakgrundsbild när man vill ha en </a:t>
            </a:r>
            <a:r>
              <a:rPr lang="sv-SE" err="1">
                <a:latin typeface="+mj-lt"/>
              </a:rPr>
              <a:t>slide</a:t>
            </a:r>
            <a:r>
              <a:rPr lang="sv-SE">
                <a:latin typeface="+mj-lt"/>
              </a:rPr>
              <a:t> som bryter av lite.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40983D9-3A63-4250-B653-CB0E746B01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14" y="651195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80284768"/>
      </p:ext>
    </p:extLst>
  </p:cSld>
  <p:clrMapOvr>
    <a:masterClrMapping/>
  </p:clrMapOvr>
  <p:transition spd="med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dslin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876891" y="811402"/>
            <a:ext cx="8078525" cy="114300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4000"/>
            </a:lvl1pPr>
          </a:lstStyle>
          <a:p>
            <a:r>
              <a:rPr lang="sv-SE"/>
              <a:t>En lång vänsterställd rubrik på två rader och tidslinje under</a:t>
            </a:r>
            <a:endParaRPr/>
          </a:p>
        </p:txBody>
      </p:sp>
      <p:sp>
        <p:nvSpPr>
          <p:cNvPr id="7" name="Line">
            <a:extLst>
              <a:ext uri="{FF2B5EF4-FFF2-40B4-BE49-F238E27FC236}">
                <a16:creationId xmlns:a16="http://schemas.microsoft.com/office/drawing/2014/main" id="{89D347E3-0012-4A0E-86C4-A6973FD29E30}"/>
              </a:ext>
            </a:extLst>
          </p:cNvPr>
          <p:cNvSpPr/>
          <p:nvPr/>
        </p:nvSpPr>
        <p:spPr>
          <a:xfrm>
            <a:off x="938118" y="3589706"/>
            <a:ext cx="10315764" cy="1"/>
          </a:xfrm>
          <a:prstGeom prst="line">
            <a:avLst/>
          </a:prstGeom>
          <a:ln w="25400">
            <a:solidFill>
              <a:schemeClr val="tx1"/>
            </a:solidFill>
            <a:custDash>
              <a:ds d="200000" sp="200000"/>
            </a:custDash>
            <a:miter lim="400000"/>
            <a:tailEnd type="triangle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ln>
                <a:solidFill>
                  <a:schemeClr val="tx1"/>
                </a:solidFill>
              </a:ln>
              <a:latin typeface="+mn-l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D63BB9-63D0-402D-B7F7-5DD70CB7953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38118" y="4037222"/>
            <a:ext cx="1555750" cy="1492309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5pPr>
              <a:defRPr/>
            </a:lvl5pPr>
          </a:lstStyle>
          <a:p>
            <a:pPr lvl="0"/>
            <a:r>
              <a:rPr lang="sv-SE" noProof="0"/>
              <a:t>Text till tidslinj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2A77119-29DA-4683-BCD0-D82825EBDD6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858123" y="4037222"/>
            <a:ext cx="1555750" cy="1492309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5pPr>
              <a:defRPr/>
            </a:lvl5pPr>
          </a:lstStyle>
          <a:p>
            <a:pPr lvl="0"/>
            <a:r>
              <a:rPr lang="sv-SE" noProof="0"/>
              <a:t>Text till tidslinj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61E8B5D-7D2C-44FF-B4BA-DA763FD75C51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778127" y="4037222"/>
            <a:ext cx="1555750" cy="1492309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5pPr>
              <a:defRPr/>
            </a:lvl5pPr>
          </a:lstStyle>
          <a:p>
            <a:pPr lvl="0"/>
            <a:r>
              <a:rPr lang="sv-SE" noProof="0"/>
              <a:t>Text till tidslinj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AC2AEEE4-A467-4015-8B76-19A098BE56F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698132" y="4037222"/>
            <a:ext cx="1555750" cy="1492309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5pPr>
              <a:defRPr/>
            </a:lvl5pPr>
          </a:lstStyle>
          <a:p>
            <a:pPr lvl="0"/>
            <a:r>
              <a:rPr lang="sv-SE" noProof="0"/>
              <a:t>Text till tidslinje</a:t>
            </a:r>
          </a:p>
        </p:txBody>
      </p:sp>
      <p:sp>
        <p:nvSpPr>
          <p:cNvPr id="25" name="Circle">
            <a:extLst>
              <a:ext uri="{FF2B5EF4-FFF2-40B4-BE49-F238E27FC236}">
                <a16:creationId xmlns:a16="http://schemas.microsoft.com/office/drawing/2014/main" id="{8FFDA874-5DBF-409C-A8F1-7103A28852E4}"/>
              </a:ext>
            </a:extLst>
          </p:cNvPr>
          <p:cNvSpPr/>
          <p:nvPr/>
        </p:nvSpPr>
        <p:spPr>
          <a:xfrm>
            <a:off x="939258" y="3496412"/>
            <a:ext cx="186588" cy="186588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F6F12E13-B40B-4398-A53B-6E9DF61E33D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9257" y="2975745"/>
            <a:ext cx="1555200" cy="292550"/>
          </a:xfrm>
        </p:spPr>
        <p:txBody>
          <a:bodyPr>
            <a:normAutofit/>
          </a:bodyPr>
          <a:lstStyle>
            <a:lvl1pPr marL="0" indent="0">
              <a:spcBef>
                <a:spcPts val="50"/>
              </a:spcBef>
              <a:buNone/>
              <a:defRPr sz="1400"/>
            </a:lvl1pPr>
          </a:lstStyle>
          <a:p>
            <a:pPr lvl="0"/>
            <a:r>
              <a:rPr lang="en-US"/>
              <a:t>Steg 1</a:t>
            </a:r>
            <a:endParaRPr lang="sv-SE"/>
          </a:p>
        </p:txBody>
      </p:sp>
      <p:sp>
        <p:nvSpPr>
          <p:cNvPr id="28" name="Text Placeholder 22">
            <a:extLst>
              <a:ext uri="{FF2B5EF4-FFF2-40B4-BE49-F238E27FC236}">
                <a16:creationId xmlns:a16="http://schemas.microsoft.com/office/drawing/2014/main" id="{C041049A-24DC-49FA-98C0-90559F634A1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58122" y="2975744"/>
            <a:ext cx="1555200" cy="29255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400"/>
            </a:lvl1pPr>
          </a:lstStyle>
          <a:p>
            <a:pPr lvl="0"/>
            <a:r>
              <a:rPr lang="en-US"/>
              <a:t>Steg 2</a:t>
            </a:r>
          </a:p>
        </p:txBody>
      </p:sp>
      <p:sp>
        <p:nvSpPr>
          <p:cNvPr id="29" name="Text Placeholder 22">
            <a:extLst>
              <a:ext uri="{FF2B5EF4-FFF2-40B4-BE49-F238E27FC236}">
                <a16:creationId xmlns:a16="http://schemas.microsoft.com/office/drawing/2014/main" id="{ABDBA522-6A4F-46F4-B015-A48AB50288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986" y="2975744"/>
            <a:ext cx="1555200" cy="29255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400"/>
            </a:lvl1pPr>
          </a:lstStyle>
          <a:p>
            <a:pPr lvl="0"/>
            <a:r>
              <a:rPr lang="en-US"/>
              <a:t>Steg 3</a:t>
            </a:r>
            <a:endParaRPr lang="sv-SE"/>
          </a:p>
        </p:txBody>
      </p:sp>
      <p:sp>
        <p:nvSpPr>
          <p:cNvPr id="30" name="Text Placeholder 22">
            <a:extLst>
              <a:ext uri="{FF2B5EF4-FFF2-40B4-BE49-F238E27FC236}">
                <a16:creationId xmlns:a16="http://schemas.microsoft.com/office/drawing/2014/main" id="{828B8332-A76E-4C09-94B2-941DAB3C190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695851" y="2975743"/>
            <a:ext cx="1555200" cy="29255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400"/>
            </a:lvl1pPr>
          </a:lstStyle>
          <a:p>
            <a:pPr lvl="0"/>
            <a:r>
              <a:rPr lang="en-US"/>
              <a:t>Steg 4</a:t>
            </a:r>
            <a:endParaRPr lang="sv-SE"/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id="{EE68B3D7-4C7C-41D7-AF0A-9AF6050998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14" y="651195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05663299"/>
      </p:ext>
    </p:extLst>
  </p:cSld>
  <p:clrMapOvr>
    <a:masterClrMapping/>
  </p:clrMapOvr>
  <p:transition spd="med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–Johnny Appleseed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2945804" y="5396214"/>
            <a:ext cx="6325059" cy="79367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ctr" defTabSz="228600">
              <a:lnSpc>
                <a:spcPct val="130000"/>
              </a:lnSpc>
              <a:spcBef>
                <a:spcPts val="0"/>
              </a:spcBef>
              <a:buSzTx/>
              <a:buNone/>
              <a:defRPr lang="sv-SE" sz="1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lvl1pPr>
          </a:lstStyle>
          <a:p>
            <a:pPr defTabSz="457200">
              <a:lnSpc>
                <a:spcPct val="130000"/>
              </a:lnSpc>
              <a:defRPr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800">
                <a:latin typeface="+mn-lt"/>
              </a:rPr>
              <a:t>Jane Doe Smith</a:t>
            </a:r>
          </a:p>
          <a:p>
            <a:pPr defTabSz="457200">
              <a:lnSpc>
                <a:spcPct val="130000"/>
              </a:lnSpc>
              <a:defRPr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800">
                <a:latin typeface="+mn-lt"/>
              </a:rPr>
              <a:t>Arbetslivsforskare &amp; Föreläsare</a:t>
            </a:r>
          </a:p>
        </p:txBody>
      </p:sp>
      <p:sp>
        <p:nvSpPr>
          <p:cNvPr id="94" name="“Type a quote here.”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1578967" y="1522798"/>
            <a:ext cx="9034066" cy="896655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 defTabSz="228600">
              <a:lnSpc>
                <a:spcPct val="90000"/>
              </a:lnSpc>
              <a:spcBef>
                <a:spcPts val="0"/>
              </a:spcBef>
              <a:buSzTx/>
              <a:buNone/>
              <a:defRPr lang="sv-SE" sz="8000" b="0" spc="-159">
                <a:latin typeface="Euclid Circular B SemiBold"/>
                <a:ea typeface="Euclid Circular B SemiBold"/>
                <a:cs typeface="Euclid Circular B SemiBold"/>
                <a:sym typeface="Euclid Circular B SemiBold"/>
              </a:defRPr>
            </a:lvl1pPr>
          </a:lstStyle>
          <a:p>
            <a:pPr defTabSz="457200">
              <a:lnSpc>
                <a:spcPct val="90000"/>
              </a:lnSpc>
              <a:defRPr sz="8000" b="0" spc="-159">
                <a:latin typeface="Euclid Circular B SemiBold"/>
                <a:ea typeface="Euclid Circular B SemiBold"/>
                <a:cs typeface="Euclid Circular B SemiBold"/>
                <a:sym typeface="Euclid Circular B SemiBold"/>
              </a:defRPr>
            </a:pPr>
            <a:r>
              <a:rPr lang="sv-SE">
                <a:latin typeface="+mj-lt"/>
              </a:rPr>
              <a:t>“</a:t>
            </a:r>
          </a:p>
          <a:p>
            <a:pPr defTabSz="457200">
              <a:lnSpc>
                <a:spcPct val="90000"/>
              </a:lnSpc>
              <a:defRPr sz="8000" b="0" spc="-159">
                <a:latin typeface="Euclid Circular B SemiBold"/>
                <a:ea typeface="Euclid Circular B SemiBold"/>
                <a:cs typeface="Euclid Circular B SemiBold"/>
                <a:sym typeface="Euclid Circular B SemiBold"/>
              </a:defRPr>
            </a:pPr>
            <a:r>
              <a:rPr lang="sv-SE">
                <a:latin typeface="+mj-lt"/>
              </a:rPr>
              <a:t>Ett citat </a:t>
            </a:r>
            <a:r>
              <a:rPr lang="sv-SE" err="1">
                <a:latin typeface="+mj-lt"/>
              </a:rPr>
              <a:t>dolor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sit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amet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consectetur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adipiscing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elitia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justo</a:t>
            </a:r>
            <a:r>
              <a:rPr lang="sv-SE">
                <a:latin typeface="+mj-lt"/>
              </a:rPr>
              <a:t> eget </a:t>
            </a:r>
            <a:r>
              <a:rPr lang="sv-SE" err="1">
                <a:latin typeface="+mj-lt"/>
              </a:rPr>
              <a:t>nislo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ullam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corper</a:t>
            </a:r>
            <a:r>
              <a:rPr lang="sv-SE">
                <a:latin typeface="+mj-lt"/>
              </a:rPr>
              <a:t> ide </a:t>
            </a:r>
            <a:r>
              <a:rPr lang="sv-SE" err="1">
                <a:latin typeface="+mj-lt"/>
              </a:rPr>
              <a:t>ornare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lacerat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diam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fermentum</a:t>
            </a:r>
            <a:r>
              <a:rPr lang="sv-SE">
                <a:latin typeface="+mj-lt"/>
              </a:rPr>
              <a:t>.</a:t>
            </a:r>
          </a:p>
          <a:p>
            <a:pPr defTabSz="457200">
              <a:lnSpc>
                <a:spcPct val="90000"/>
              </a:lnSpc>
              <a:defRPr sz="8000" b="0" spc="-159">
                <a:latin typeface="Euclid Circular B SemiBold"/>
                <a:ea typeface="Euclid Circular B SemiBold"/>
                <a:cs typeface="Euclid Circular B SemiBold"/>
                <a:sym typeface="Euclid Circular B SemiBold"/>
              </a:defRPr>
            </a:pPr>
            <a:r>
              <a:rPr lang="sv-SE">
                <a:latin typeface="+mj-lt"/>
              </a:rPr>
              <a:t>“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C79198E8-9820-4883-AEAE-77B55DC770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14" y="651195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87655779"/>
      </p:ext>
    </p:extLst>
  </p:cSld>
  <p:clrMapOvr>
    <a:masterClrMapping/>
  </p:clrMapOvr>
  <p:transition spd="med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5F62601B-347C-459E-848F-FA9E93BA10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14" y="651195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defTabSz="457200">
              <a:defRPr/>
            </a:pPr>
            <a:fld id="{230B0BE5-CE6F-47C0-8523-155D8C80793A}" type="slidenum">
              <a:rPr lang="sv-SE" smtClean="0"/>
              <a:pPr defTabSz="457200">
                <a:defRPr/>
              </a:pPr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2080830"/>
      </p:ext>
    </p:extLst>
  </p:cSld>
  <p:clrMapOvr>
    <a:masterClrMapping/>
  </p:clrMapOvr>
  <p:transition spd="med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Inled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–Johnny Appleseed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874115" y="4538638"/>
            <a:ext cx="5206608" cy="51296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>
              <a:spcBef>
                <a:spcPts val="0"/>
              </a:spcBef>
              <a:buSzTx/>
              <a:buNone/>
              <a:defRPr lang="sv-SE" dirty="0">
                <a:cs typeface="Arial" panose="020B0604020202020204" pitchFamily="34" charset="0"/>
              </a:defRPr>
            </a:lvl1pPr>
          </a:lstStyle>
          <a:p>
            <a:r>
              <a:rPr lang="sv-SE">
                <a:latin typeface="+mn-lt"/>
                <a:cs typeface="Arial" panose="020B0604020202020204" pitchFamily="34" charset="0"/>
              </a:rPr>
              <a:t>Jane Doe Smith</a:t>
            </a:r>
          </a:p>
        </p:txBody>
      </p:sp>
      <p:sp>
        <p:nvSpPr>
          <p:cNvPr id="94" name="“Type a quote here.”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853222" y="1694729"/>
            <a:ext cx="7796705" cy="1795363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SzTx/>
              <a:buNone/>
              <a:defRPr lang="sv-SE" sz="5500" dirty="0">
                <a:cs typeface="Arial" panose="020B0604020202020204" pitchFamily="34" charset="0"/>
              </a:defRPr>
            </a:lvl1pPr>
          </a:lstStyle>
          <a:p>
            <a:r>
              <a:rPr lang="sv-SE">
                <a:latin typeface="+mj-lt"/>
                <a:cs typeface="Arial" panose="020B0604020202020204" pitchFamily="34" charset="0"/>
              </a:rPr>
              <a:t>En längre vänsterställd rubrik på två rader</a:t>
            </a:r>
          </a:p>
        </p:txBody>
      </p:sp>
      <p:sp>
        <p:nvSpPr>
          <p:cNvPr id="8" name="Line">
            <a:extLst>
              <a:ext uri="{FF2B5EF4-FFF2-40B4-BE49-F238E27FC236}">
                <a16:creationId xmlns:a16="http://schemas.microsoft.com/office/drawing/2014/main" id="{A789D315-9205-4977-ACEC-06FBEF7C276A}"/>
              </a:ext>
            </a:extLst>
          </p:cNvPr>
          <p:cNvSpPr/>
          <p:nvPr/>
        </p:nvSpPr>
        <p:spPr>
          <a:xfrm>
            <a:off x="939258" y="4056176"/>
            <a:ext cx="570566" cy="0"/>
          </a:xfrm>
          <a:prstGeom prst="line">
            <a:avLst/>
          </a:prstGeom>
          <a:ln w="114300">
            <a:solidFill>
              <a:srgbClr val="FFFFFF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latin typeface="+mj-lt"/>
            </a:endParaRPr>
          </a:p>
        </p:txBody>
      </p:sp>
      <p:sp>
        <p:nvSpPr>
          <p:cNvPr id="9" name="© www.partsradet.se">
            <a:extLst>
              <a:ext uri="{FF2B5EF4-FFF2-40B4-BE49-F238E27FC236}">
                <a16:creationId xmlns:a16="http://schemas.microsoft.com/office/drawing/2014/main" id="{B8B2AE36-23EE-4F4C-8585-ADA092848124}"/>
              </a:ext>
            </a:extLst>
          </p:cNvPr>
          <p:cNvSpPr txBox="1"/>
          <p:nvPr/>
        </p:nvSpPr>
        <p:spPr>
          <a:xfrm>
            <a:off x="934142" y="6094017"/>
            <a:ext cx="989053" cy="17197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 algn="l">
              <a:lnSpc>
                <a:spcPct val="120000"/>
              </a:lnSpc>
              <a:defRPr sz="1400" b="0" cap="all">
                <a:solidFill>
                  <a:srgbClr val="FFFFFF"/>
                </a:solidFill>
                <a:latin typeface="Euclid Circular A Regular"/>
                <a:ea typeface="Euclid Circular A Regular"/>
                <a:cs typeface="Euclid Circular A Regular"/>
                <a:sym typeface="Euclid Circular A Regular"/>
              </a:defRPr>
            </a:lvl1pPr>
          </a:lstStyle>
          <a:p>
            <a:r>
              <a:rPr sz="700">
                <a:latin typeface="+mn-lt"/>
                <a:cs typeface="Arial" panose="020B0604020202020204" pitchFamily="34" charset="0"/>
              </a:rPr>
              <a:t>© www.partsradet.se</a:t>
            </a:r>
          </a:p>
        </p:txBody>
      </p:sp>
      <p:pic>
        <p:nvPicPr>
          <p:cNvPr id="10" name="Partsrådet_Logo_LeftAligned-White.png" descr="Partsrådet_Logo_LeftAligned-White.png">
            <a:extLst>
              <a:ext uri="{FF2B5EF4-FFF2-40B4-BE49-F238E27FC236}">
                <a16:creationId xmlns:a16="http://schemas.microsoft.com/office/drawing/2014/main" id="{B0B22340-55EE-48CD-A369-172802E327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8332" y="636811"/>
            <a:ext cx="2786974" cy="54313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341669672"/>
      </p:ext>
    </p:extLst>
  </p:cSld>
  <p:clrMapOvr>
    <a:masterClrMapping/>
  </p:clrMapOvr>
  <p:transition spd="med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Kapitelmall k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–Johnny Appleseed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3029115" y="4099449"/>
            <a:ext cx="6133771" cy="564257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3000" dirty="0"/>
            </a:lvl1pPr>
          </a:lstStyle>
          <a:p>
            <a:r>
              <a:rPr lang="sv-SE">
                <a:latin typeface="+mn-lt"/>
              </a:rPr>
              <a:t>En underrubrik om det behövs</a:t>
            </a:r>
          </a:p>
        </p:txBody>
      </p:sp>
      <p:sp>
        <p:nvSpPr>
          <p:cNvPr id="94" name="“Type a quote here.”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2196060" y="2270894"/>
            <a:ext cx="7796705" cy="948978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5500" dirty="0"/>
            </a:lvl1pPr>
          </a:lstStyle>
          <a:p>
            <a:r>
              <a:rPr lang="sv-SE">
                <a:latin typeface="+mj-lt"/>
              </a:rPr>
              <a:t>En centrerad kort rubrik</a:t>
            </a:r>
          </a:p>
        </p:txBody>
      </p:sp>
      <p:sp>
        <p:nvSpPr>
          <p:cNvPr id="5" name="Line">
            <a:extLst>
              <a:ext uri="{FF2B5EF4-FFF2-40B4-BE49-F238E27FC236}">
                <a16:creationId xmlns:a16="http://schemas.microsoft.com/office/drawing/2014/main" id="{075388B6-9146-4962-B86F-FC536C0A0DE5}"/>
              </a:ext>
            </a:extLst>
          </p:cNvPr>
          <p:cNvSpPr/>
          <p:nvPr/>
        </p:nvSpPr>
        <p:spPr>
          <a:xfrm>
            <a:off x="5793229" y="3638150"/>
            <a:ext cx="570566" cy="0"/>
          </a:xfrm>
          <a:prstGeom prst="line">
            <a:avLst/>
          </a:prstGeom>
          <a:ln w="114300">
            <a:solidFill>
              <a:srgbClr val="FFFFFF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latin typeface="+mj-lt"/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186D1854-0FC1-403B-86B4-B2EEEAF0D5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7"/>
            <a:ext cx="384644" cy="281665"/>
          </a:xfrm>
        </p:spPr>
        <p:txBody>
          <a:bodyPr/>
          <a:lstStyle/>
          <a:p>
            <a:fld id="{86CB4B4D-7CA3-9044-876B-883B54F8677D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79452111"/>
      </p:ext>
    </p:extLst>
  </p:cSld>
  <p:clrMapOvr>
    <a:masterClrMapping/>
  </p:clrMapOvr>
  <p:transition spd="med"/>
  <p:hf sldNum="0"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Kapitelmall lå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">
            <a:extLst>
              <a:ext uri="{FF2B5EF4-FFF2-40B4-BE49-F238E27FC236}">
                <a16:creationId xmlns:a16="http://schemas.microsoft.com/office/drawing/2014/main" id="{B8B8975B-896F-43D9-B44C-C96774FEB378}"/>
              </a:ext>
            </a:extLst>
          </p:cNvPr>
          <p:cNvSpPr/>
          <p:nvPr/>
        </p:nvSpPr>
        <p:spPr>
          <a:xfrm>
            <a:off x="5810717" y="4035343"/>
            <a:ext cx="570566" cy="0"/>
          </a:xfrm>
          <a:prstGeom prst="line">
            <a:avLst/>
          </a:prstGeom>
          <a:ln w="114300">
            <a:solidFill>
              <a:srgbClr val="FFFFFF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latin typeface="+mj-lt"/>
            </a:endParaRPr>
          </a:p>
        </p:txBody>
      </p:sp>
      <p:sp>
        <p:nvSpPr>
          <p:cNvPr id="93" name="–Johnny Appleseed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3029115" y="4556649"/>
            <a:ext cx="6133771" cy="51296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dirty="0"/>
            </a:lvl1pPr>
          </a:lstStyle>
          <a:p>
            <a:r>
              <a:rPr lang="sv-SE">
                <a:latin typeface="+mn-lt"/>
              </a:rPr>
              <a:t>En underrubrik om det behövs</a:t>
            </a:r>
          </a:p>
        </p:txBody>
      </p:sp>
      <p:sp>
        <p:nvSpPr>
          <p:cNvPr id="94" name="“Type a quote here.”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2197647" y="1633637"/>
            <a:ext cx="7796705" cy="1795363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5500" dirty="0"/>
            </a:lvl1pPr>
          </a:lstStyle>
          <a:p>
            <a:r>
              <a:rPr lang="sv-SE">
                <a:latin typeface="+mj-lt"/>
              </a:rPr>
              <a:t>En centrerad lite längre rubrik på två r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89575EE-F3C5-4822-8EC0-4EF2E344BE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7"/>
            <a:ext cx="384644" cy="281665"/>
          </a:xfrm>
        </p:spPr>
        <p:txBody>
          <a:bodyPr/>
          <a:lstStyle/>
          <a:p>
            <a:fld id="{86CB4B4D-7CA3-9044-876B-883B54F8677D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48823294"/>
      </p:ext>
    </p:extLst>
  </p:cSld>
  <p:clrMapOvr>
    <a:masterClrMapping/>
  </p:clrMapOvr>
  <p:transition spd="med"/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ehållsmall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876891" y="811402"/>
            <a:ext cx="8864845" cy="1143001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lang="sv-SE" sz="4000" dirty="0"/>
            </a:lvl1pPr>
          </a:lstStyle>
          <a:p>
            <a:r>
              <a:rPr lang="sv-SE">
                <a:latin typeface="+mj-lt"/>
              </a:rPr>
              <a:t>En längre vänsterställd rubrik på två rader med färgad bakgrund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F3B512AE-A1A6-46EE-87D8-9B537E23B8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7"/>
            <a:ext cx="384644" cy="281665"/>
          </a:xfrm>
        </p:spPr>
        <p:txBody>
          <a:bodyPr/>
          <a:lstStyle>
            <a:lvl1pPr>
              <a:defRPr lang="sv-SE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F8114D91-4524-0541-9CCE-86E92887A391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08256399"/>
      </p:ext>
    </p:extLst>
  </p:cSld>
  <p:clrMapOvr>
    <a:masterClrMapping/>
  </p:clrMapOvr>
  <p:transition spd="med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ehållsmal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4FC9CEB-B72A-4ED0-92D8-DA660390AE5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6891" y="2481120"/>
            <a:ext cx="9949664" cy="3565479"/>
          </a:xfrm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 sz="2200"/>
            </a:lvl2pPr>
            <a:lvl3pPr>
              <a:buClr>
                <a:schemeClr val="tx2"/>
              </a:buClr>
              <a:defRPr sz="2000"/>
            </a:lvl3pPr>
            <a:lvl4pPr>
              <a:buClr>
                <a:schemeClr val="tx2"/>
              </a:buClr>
              <a:defRPr sz="1800"/>
            </a:lvl4pPr>
            <a:lvl5pPr>
              <a:buClr>
                <a:schemeClr val="tx2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56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876891" y="811402"/>
            <a:ext cx="8864845" cy="1143001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lang="sv-SE" sz="4000" dirty="0"/>
            </a:lvl1pPr>
          </a:lstStyle>
          <a:p>
            <a:r>
              <a:rPr lang="sv-SE">
                <a:latin typeface="+mj-lt"/>
              </a:rPr>
              <a:t>En längre vänsterställd rubrik på två rader med färgad bakgrund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C92FE0FA-B7B2-45D3-AA1B-A41FE67EE7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7"/>
            <a:ext cx="384644" cy="281665"/>
          </a:xfrm>
        </p:spPr>
        <p:txBody>
          <a:bodyPr/>
          <a:lstStyle/>
          <a:p>
            <a:fld id="{86CB4B4D-7CA3-9044-876B-883B54F8677D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07311767"/>
      </p:ext>
    </p:extLst>
  </p:cSld>
  <p:clrMapOvr>
    <a:masterClrMapping/>
  </p:clrMapOvr>
  <p:transition spd="med"/>
  <p:hf sldNum="0"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ehållsmall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876891" y="811402"/>
            <a:ext cx="8864845" cy="1143001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lang="sv-SE" sz="4000" dirty="0"/>
            </a:lvl1pPr>
          </a:lstStyle>
          <a:p>
            <a:r>
              <a:rPr lang="sv-SE">
                <a:latin typeface="+mj-lt"/>
              </a:rPr>
              <a:t>En längre vänsterställd rubrik på två rader med färgad bakgrund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F3B512AE-A1A6-46EE-87D8-9B537E23B8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7"/>
            <a:ext cx="384644" cy="281665"/>
          </a:xfrm>
        </p:spPr>
        <p:txBody>
          <a:bodyPr/>
          <a:lstStyle/>
          <a:p>
            <a:fld id="{86CB4B4D-7CA3-9044-876B-883B54F8677D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3033176"/>
      </p:ext>
    </p:extLst>
  </p:cSld>
  <p:clrMapOvr>
    <a:masterClrMapping/>
  </p:clrMapOvr>
  <p:transition spd="med"/>
  <p:hf sldNum="0" hdr="0" ft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Innehållsmal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876891" y="811402"/>
            <a:ext cx="8078525" cy="1143000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lang="sv-SE" sz="4000" smtClean="0"/>
            </a:lvl1pPr>
          </a:lstStyle>
          <a:p>
            <a:r>
              <a:rPr lang="sv-SE">
                <a:latin typeface="+mj-lt"/>
              </a:rPr>
              <a:t>En lång vänsterställd rubrik på två rader med en hel del text</a:t>
            </a:r>
            <a:endParaRPr/>
          </a:p>
        </p:txBody>
      </p:sp>
      <p:sp>
        <p:nvSpPr>
          <p:cNvPr id="57" name="Body Level One…"/>
          <p:cNvSpPr txBox="1">
            <a:spLocks noGrp="1"/>
          </p:cNvSpPr>
          <p:nvPr>
            <p:ph type="body" idx="1" hasCustomPrompt="1"/>
          </p:nvPr>
        </p:nvSpPr>
        <p:spPr>
          <a:xfrm>
            <a:off x="876891" y="2522637"/>
            <a:ext cx="4527726" cy="3244542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  <a:lvl2pPr marL="317500" indent="0">
              <a:buNone/>
              <a:defRPr sz="1800"/>
            </a:lvl2pPr>
            <a:lvl3pPr marL="635000" indent="0">
              <a:buNone/>
              <a:defRPr sz="1800"/>
            </a:lvl3pPr>
            <a:lvl4pPr marL="952500" indent="0">
              <a:buNone/>
              <a:defRPr sz="1800"/>
            </a:lvl4pPr>
            <a:lvl5pPr marL="1270000" indent="0">
              <a:buNone/>
              <a:defRPr sz="1800"/>
            </a:lvl5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1" name="Body Level One…">
            <a:extLst>
              <a:ext uri="{FF2B5EF4-FFF2-40B4-BE49-F238E27FC236}">
                <a16:creationId xmlns:a16="http://schemas.microsoft.com/office/drawing/2014/main" id="{906D06E3-1A4E-4D18-8BD9-877AD4D2AAD3}"/>
              </a:ext>
            </a:extLst>
          </p:cNvPr>
          <p:cNvSpPr txBox="1">
            <a:spLocks noGrp="1"/>
          </p:cNvSpPr>
          <p:nvPr>
            <p:ph type="body" idx="10" hasCustomPrompt="1"/>
          </p:nvPr>
        </p:nvSpPr>
        <p:spPr>
          <a:xfrm>
            <a:off x="6270539" y="2522637"/>
            <a:ext cx="4527726" cy="3244542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  <a:lvl2pPr marL="317500" indent="0">
              <a:buNone/>
              <a:defRPr sz="1800"/>
            </a:lvl2pPr>
            <a:lvl3pPr marL="635000" indent="0">
              <a:buNone/>
              <a:defRPr sz="1800"/>
            </a:lvl3pPr>
            <a:lvl4pPr marL="952500" indent="0">
              <a:buNone/>
              <a:defRPr sz="1800"/>
            </a:lvl4pPr>
            <a:lvl5pPr marL="1270000" indent="0">
              <a:buNone/>
              <a:defRPr sz="1800"/>
            </a:lvl5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8D657599-58DA-4648-8A70-DCBC3156B2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7"/>
            <a:ext cx="384644" cy="281665"/>
          </a:xfrm>
        </p:spPr>
        <p:txBody>
          <a:bodyPr/>
          <a:lstStyle/>
          <a:p>
            <a:fld id="{86CB4B4D-7CA3-9044-876B-883B54F8677D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18225224"/>
      </p:ext>
    </p:extLst>
  </p:cSld>
  <p:clrMapOvr>
    <a:masterClrMapping/>
  </p:clrMapOvr>
  <p:transition spd="med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Innehållsmall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Image"/>
          <p:cNvSpPr>
            <a:spLocks noGrp="1"/>
          </p:cNvSpPr>
          <p:nvPr>
            <p:ph type="pic" sz="half" idx="13"/>
          </p:nvPr>
        </p:nvSpPr>
        <p:spPr>
          <a:xfrm>
            <a:off x="0" y="0"/>
            <a:ext cx="5338148" cy="6858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39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6238356" y="874902"/>
            <a:ext cx="5111750" cy="1159292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lang="sv-SE" sz="4000" dirty="0"/>
            </a:lvl1pPr>
          </a:lstStyle>
          <a:p>
            <a:r>
              <a:rPr lang="sv-SE">
                <a:latin typeface="+mj-lt"/>
              </a:rPr>
              <a:t>En lite längre rubrik på två rader</a:t>
            </a:r>
          </a:p>
        </p:txBody>
      </p:sp>
      <p:sp>
        <p:nvSpPr>
          <p:cNvPr id="40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6270539" y="2610132"/>
            <a:ext cx="5044285" cy="2586157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 defTabSz="228600">
              <a:lnSpc>
                <a:spcPct val="130000"/>
              </a:lnSpc>
              <a:spcBef>
                <a:spcPts val="0"/>
              </a:spcBef>
              <a:buSzTx/>
              <a:buNone/>
              <a:defRPr lang="sv-SE"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lvl1pPr>
            <a:lvl2pPr marL="0" indent="0" algn="l">
              <a:spcBef>
                <a:spcPts val="0"/>
              </a:spcBef>
              <a:buSzTx/>
              <a:buNone/>
              <a:defRPr sz="1550"/>
            </a:lvl2pPr>
            <a:lvl3pPr marL="0" indent="0" algn="l">
              <a:spcBef>
                <a:spcPts val="0"/>
              </a:spcBef>
              <a:buSzTx/>
              <a:buNone/>
              <a:defRPr sz="1550"/>
            </a:lvl3pPr>
            <a:lvl4pPr marL="0" indent="0" algn="l">
              <a:spcBef>
                <a:spcPts val="0"/>
              </a:spcBef>
              <a:buSzTx/>
              <a:buNone/>
              <a:defRPr sz="1550"/>
            </a:lvl4pPr>
            <a:lvl5pPr marL="0" indent="0" algn="l">
              <a:spcBef>
                <a:spcPts val="0"/>
              </a:spcBef>
              <a:buSzTx/>
              <a:buNone/>
              <a:defRPr sz="1550"/>
            </a:lvl5pPr>
          </a:lstStyle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400" err="1">
                <a:latin typeface="+mn-lt"/>
              </a:rPr>
              <a:t>Lore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ips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dolo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sit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met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nsectetu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dipiscing</a:t>
            </a:r>
            <a:r>
              <a:rPr lang="sv-SE" sz="1400">
                <a:latin typeface="+mn-lt"/>
              </a:rPr>
              <a:t> elit. </a:t>
            </a:r>
            <a:r>
              <a:rPr lang="sv-SE" sz="1400" err="1">
                <a:latin typeface="+mn-lt"/>
              </a:rPr>
              <a:t>Phasellus</a:t>
            </a:r>
            <a:r>
              <a:rPr lang="sv-SE" sz="1400">
                <a:latin typeface="+mn-lt"/>
              </a:rPr>
              <a:t> gravida </a:t>
            </a:r>
            <a:r>
              <a:rPr lang="sv-SE" sz="1400" err="1">
                <a:latin typeface="+mn-lt"/>
              </a:rPr>
              <a:t>justo</a:t>
            </a:r>
            <a:r>
              <a:rPr lang="sv-SE" sz="1400">
                <a:latin typeface="+mn-lt"/>
              </a:rPr>
              <a:t> eget </a:t>
            </a:r>
            <a:r>
              <a:rPr lang="sv-SE" sz="1400" err="1">
                <a:latin typeface="+mn-lt"/>
              </a:rPr>
              <a:t>nislo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ulla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rper</a:t>
            </a:r>
            <a:r>
              <a:rPr lang="sv-SE" sz="1400">
                <a:latin typeface="+mn-lt"/>
              </a:rPr>
              <a:t> id </a:t>
            </a:r>
            <a:r>
              <a:rPr lang="sv-SE" sz="1400" err="1">
                <a:latin typeface="+mn-lt"/>
              </a:rPr>
              <a:t>ornare</a:t>
            </a:r>
            <a:r>
              <a:rPr lang="sv-SE" sz="1400">
                <a:latin typeface="+mn-lt"/>
              </a:rPr>
              <a:t> mi </a:t>
            </a:r>
            <a:r>
              <a:rPr lang="sv-SE" sz="1400" err="1">
                <a:latin typeface="+mn-lt"/>
              </a:rPr>
              <a:t>imperdiet</a:t>
            </a:r>
            <a:r>
              <a:rPr lang="sv-SE" sz="1400">
                <a:latin typeface="+mn-lt"/>
              </a:rPr>
              <a:t>. In </a:t>
            </a:r>
            <a:r>
              <a:rPr lang="sv-SE" sz="1400" err="1">
                <a:latin typeface="+mn-lt"/>
              </a:rPr>
              <a:t>plaacerat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dia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ferment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ucto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ips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vehicula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lacinia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metuso</a:t>
            </a:r>
            <a:r>
              <a:rPr lang="sv-SE" sz="1400">
                <a:latin typeface="+mn-lt"/>
              </a:rPr>
              <a:t> de </a:t>
            </a:r>
            <a:r>
              <a:rPr lang="sv-SE" sz="1400" err="1">
                <a:latin typeface="+mn-lt"/>
              </a:rPr>
              <a:t>vecchio</a:t>
            </a:r>
            <a:r>
              <a:rPr lang="sv-SE" sz="1400">
                <a:latin typeface="+mn-lt"/>
              </a:rPr>
              <a:t>.</a:t>
            </a:r>
          </a:p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endParaRPr lang="sv-SE" sz="1400">
              <a:latin typeface="+mn-lt"/>
            </a:endParaRPr>
          </a:p>
          <a:p>
            <a:pPr algn="l" defTabSz="457200">
              <a:lnSpc>
                <a:spcPct val="130000"/>
              </a:lnSpc>
              <a:defRPr sz="2800" b="0">
                <a:latin typeface="Euclid Circular B SemiBold"/>
                <a:ea typeface="Euclid Circular B SemiBold"/>
                <a:cs typeface="Euclid Circular B SemiBold"/>
                <a:sym typeface="Euclid Circular B SemiBold"/>
              </a:defRPr>
            </a:pPr>
            <a:r>
              <a:rPr lang="sv-SE" sz="1400">
                <a:latin typeface="+mn-lt"/>
                <a:ea typeface="Euclid Circular A SemiBold" panose="020B0704000000000000" pitchFamily="34" charset="0"/>
              </a:rPr>
              <a:t>En underrubrik i texten</a:t>
            </a:r>
          </a:p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400">
                <a:latin typeface="+mn-lt"/>
              </a:rPr>
              <a:t>Mauris non </a:t>
            </a:r>
            <a:r>
              <a:rPr lang="sv-SE" sz="1400" err="1">
                <a:latin typeface="+mn-lt"/>
              </a:rPr>
              <a:t>dolor</a:t>
            </a:r>
            <a:r>
              <a:rPr lang="sv-SE" sz="1400">
                <a:latin typeface="+mn-lt"/>
              </a:rPr>
              <a:t> non </a:t>
            </a:r>
            <a:r>
              <a:rPr lang="sv-SE" sz="1400" err="1">
                <a:latin typeface="+mn-lt"/>
              </a:rPr>
              <a:t>metus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preti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ngue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phasellus</a:t>
            </a:r>
            <a:r>
              <a:rPr lang="sv-SE" sz="1400">
                <a:latin typeface="+mn-lt"/>
              </a:rPr>
              <a:t> gravida </a:t>
            </a:r>
            <a:r>
              <a:rPr lang="sv-SE" sz="1400" err="1">
                <a:latin typeface="+mn-lt"/>
              </a:rPr>
              <a:t>justo</a:t>
            </a:r>
            <a:r>
              <a:rPr lang="sv-SE" sz="1400">
                <a:latin typeface="+mn-lt"/>
              </a:rPr>
              <a:t> eget </a:t>
            </a:r>
            <a:r>
              <a:rPr lang="sv-SE" sz="1400" err="1">
                <a:latin typeface="+mn-lt"/>
              </a:rPr>
              <a:t>nislo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ulla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rper</a:t>
            </a:r>
            <a:r>
              <a:rPr lang="sv-SE" sz="1400">
                <a:latin typeface="+mn-lt"/>
              </a:rPr>
              <a:t>.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537DC52-011A-466F-9223-B1D0D0972E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419700" y="6465328"/>
            <a:ext cx="384644" cy="281665"/>
          </a:xfrm>
        </p:spPr>
        <p:txBody>
          <a:bodyPr/>
          <a:lstStyle/>
          <a:p>
            <a:fld id="{86CB4B4D-7CA3-9044-876B-883B54F8677D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70333759"/>
      </p:ext>
    </p:extLst>
  </p:cSld>
  <p:clrMapOvr>
    <a:masterClrMapping/>
  </p:clrMapOvr>
  <p:transition spd="med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ehållsmall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Image"/>
          <p:cNvSpPr>
            <a:spLocks noGrp="1"/>
          </p:cNvSpPr>
          <p:nvPr>
            <p:ph type="pic" sz="half" idx="13"/>
          </p:nvPr>
        </p:nvSpPr>
        <p:spPr>
          <a:xfrm>
            <a:off x="0" y="0"/>
            <a:ext cx="5338148" cy="6858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39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6238356" y="874902"/>
            <a:ext cx="5111750" cy="1159292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000"/>
            </a:lvl1pPr>
          </a:lstStyle>
          <a:p>
            <a:r>
              <a:rPr lang="sv-SE"/>
              <a:t>En längre rubrik med </a:t>
            </a:r>
            <a:r>
              <a:rPr lang="sv-SE" err="1"/>
              <a:t>bullet</a:t>
            </a:r>
            <a:r>
              <a:rPr lang="sv-SE"/>
              <a:t> </a:t>
            </a:r>
            <a:r>
              <a:rPr lang="sv-SE" err="1"/>
              <a:t>points</a:t>
            </a:r>
            <a:endParaRPr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12F7830-9892-472D-9338-AE9888EE651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38356" y="2374503"/>
            <a:ext cx="5044285" cy="2831678"/>
          </a:xfrm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 sz="2200"/>
            </a:lvl2pPr>
            <a:lvl3pPr>
              <a:buClr>
                <a:schemeClr val="tx2"/>
              </a:buClr>
              <a:defRPr sz="2000"/>
            </a:lvl3pPr>
            <a:lvl4pPr>
              <a:buClr>
                <a:schemeClr val="tx2"/>
              </a:buClr>
              <a:defRPr sz="1800"/>
            </a:lvl4pPr>
            <a:lvl5pPr>
              <a:buClr>
                <a:schemeClr val="tx2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8224A059-758B-4A61-88D9-C0CF29C0BE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419700" y="6465328"/>
            <a:ext cx="384644" cy="281665"/>
          </a:xfrm>
        </p:spPr>
        <p:txBody>
          <a:bodyPr/>
          <a:lstStyle/>
          <a:p>
            <a:fld id="{86CB4B4D-7CA3-9044-876B-883B54F8677D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37658794"/>
      </p:ext>
    </p:extLst>
  </p:cSld>
  <p:clrMapOvr>
    <a:masterClrMapping/>
  </p:clrMapOvr>
  <p:transition spd="med"/>
  <p:hf sldNum="0" hdr="0" ft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Innehållsmall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Image"/>
          <p:cNvSpPr>
            <a:spLocks noGrp="1"/>
          </p:cNvSpPr>
          <p:nvPr>
            <p:ph type="pic" sz="half" idx="13"/>
          </p:nvPr>
        </p:nvSpPr>
        <p:spPr>
          <a:xfrm>
            <a:off x="6853853" y="0"/>
            <a:ext cx="5338148" cy="6858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39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874114" y="1441160"/>
            <a:ext cx="5221886" cy="593034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lang="sv-SE" sz="4000" dirty="0"/>
            </a:lvl1pPr>
          </a:lstStyle>
          <a:p>
            <a:r>
              <a:rPr lang="sv-SE">
                <a:latin typeface="+mj-lt"/>
              </a:rPr>
              <a:t>En kort rubrik</a:t>
            </a:r>
          </a:p>
        </p:txBody>
      </p:sp>
      <p:sp>
        <p:nvSpPr>
          <p:cNvPr id="40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874114" y="2456009"/>
            <a:ext cx="5186603" cy="1945982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 defTabSz="228600">
              <a:lnSpc>
                <a:spcPct val="130000"/>
              </a:lnSpc>
              <a:spcBef>
                <a:spcPts val="0"/>
              </a:spcBef>
              <a:buSzTx/>
              <a:buNone/>
              <a:defRPr lang="sv-SE"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lvl1pPr>
            <a:lvl2pPr marL="0" indent="0" algn="l">
              <a:spcBef>
                <a:spcPts val="0"/>
              </a:spcBef>
              <a:buSzTx/>
              <a:buNone/>
              <a:defRPr sz="1550"/>
            </a:lvl2pPr>
            <a:lvl3pPr marL="0" indent="0" algn="l">
              <a:spcBef>
                <a:spcPts val="0"/>
              </a:spcBef>
              <a:buSzTx/>
              <a:buNone/>
              <a:defRPr sz="1550"/>
            </a:lvl3pPr>
            <a:lvl4pPr marL="0" indent="0" algn="l">
              <a:spcBef>
                <a:spcPts val="0"/>
              </a:spcBef>
              <a:buSzTx/>
              <a:buNone/>
              <a:defRPr sz="1550"/>
            </a:lvl4pPr>
            <a:lvl5pPr marL="0" indent="0" algn="l">
              <a:spcBef>
                <a:spcPts val="0"/>
              </a:spcBef>
              <a:buSzTx/>
              <a:buNone/>
              <a:defRPr sz="1550"/>
            </a:lvl5pPr>
          </a:lstStyle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400" err="1">
                <a:latin typeface="+mn-lt"/>
              </a:rPr>
              <a:t>Lore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ips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dolo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sit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met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nsectetu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dipiscing</a:t>
            </a:r>
            <a:r>
              <a:rPr lang="sv-SE" sz="1400">
                <a:latin typeface="+mn-lt"/>
              </a:rPr>
              <a:t> elit. </a:t>
            </a:r>
            <a:r>
              <a:rPr lang="sv-SE" sz="1400" err="1">
                <a:latin typeface="+mn-lt"/>
              </a:rPr>
              <a:t>Phasellus</a:t>
            </a:r>
            <a:r>
              <a:rPr lang="sv-SE" sz="1400">
                <a:latin typeface="+mn-lt"/>
              </a:rPr>
              <a:t> gravida </a:t>
            </a:r>
            <a:r>
              <a:rPr lang="sv-SE" sz="1400" err="1">
                <a:latin typeface="+mn-lt"/>
              </a:rPr>
              <a:t>justo</a:t>
            </a:r>
            <a:r>
              <a:rPr lang="sv-SE" sz="1400">
                <a:latin typeface="+mn-lt"/>
              </a:rPr>
              <a:t> eget </a:t>
            </a:r>
            <a:r>
              <a:rPr lang="sv-SE" sz="1400" err="1">
                <a:latin typeface="+mn-lt"/>
              </a:rPr>
              <a:t>nislo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ulla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rper</a:t>
            </a:r>
            <a:r>
              <a:rPr lang="sv-SE" sz="1400">
                <a:latin typeface="+mn-lt"/>
              </a:rPr>
              <a:t> id </a:t>
            </a:r>
            <a:r>
              <a:rPr lang="sv-SE" sz="1400" err="1">
                <a:latin typeface="+mn-lt"/>
              </a:rPr>
              <a:t>ornare</a:t>
            </a:r>
            <a:r>
              <a:rPr lang="sv-SE" sz="1400">
                <a:latin typeface="+mn-lt"/>
              </a:rPr>
              <a:t> mi </a:t>
            </a:r>
            <a:r>
              <a:rPr lang="sv-SE" sz="1400" err="1">
                <a:latin typeface="+mn-lt"/>
              </a:rPr>
              <a:t>imperdiet</a:t>
            </a:r>
            <a:r>
              <a:rPr lang="sv-SE" sz="1400">
                <a:latin typeface="+mn-lt"/>
              </a:rPr>
              <a:t>. In placerat </a:t>
            </a:r>
            <a:r>
              <a:rPr lang="sv-SE" sz="1400" err="1">
                <a:latin typeface="+mn-lt"/>
              </a:rPr>
              <a:t>dia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ferment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ucto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ips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vehicula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lacinia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metuso</a:t>
            </a:r>
            <a:r>
              <a:rPr lang="sv-SE" sz="1400">
                <a:latin typeface="+mn-lt"/>
              </a:rPr>
              <a:t> de </a:t>
            </a:r>
            <a:r>
              <a:rPr lang="sv-SE" sz="1400" err="1">
                <a:latin typeface="+mn-lt"/>
              </a:rPr>
              <a:t>vecchio</a:t>
            </a:r>
            <a:r>
              <a:rPr lang="sv-SE" sz="1400">
                <a:latin typeface="+mn-lt"/>
              </a:rPr>
              <a:t>.</a:t>
            </a:r>
          </a:p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endParaRPr lang="sv-SE" sz="1400">
              <a:latin typeface="+mn-lt"/>
            </a:endParaRPr>
          </a:p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400">
                <a:latin typeface="+mn-lt"/>
              </a:rPr>
              <a:t>Mauris non </a:t>
            </a:r>
            <a:r>
              <a:rPr lang="sv-SE" sz="1400" err="1">
                <a:latin typeface="+mn-lt"/>
              </a:rPr>
              <a:t>dolor</a:t>
            </a:r>
            <a:r>
              <a:rPr lang="sv-SE" sz="1400">
                <a:latin typeface="+mn-lt"/>
              </a:rPr>
              <a:t> non </a:t>
            </a:r>
            <a:r>
              <a:rPr lang="sv-SE" sz="1400" err="1">
                <a:latin typeface="+mn-lt"/>
              </a:rPr>
              <a:t>metus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preti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ngue</a:t>
            </a:r>
            <a:r>
              <a:rPr lang="sv-SE" sz="1400">
                <a:latin typeface="+mn-lt"/>
              </a:rPr>
              <a:t>. 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B886941-ECD3-4FCA-B2A4-20405B79B6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7"/>
            <a:ext cx="384644" cy="281665"/>
          </a:xfrm>
        </p:spPr>
        <p:txBody>
          <a:bodyPr/>
          <a:lstStyle/>
          <a:p>
            <a:fld id="{86CB4B4D-7CA3-9044-876B-883B54F8677D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2807017"/>
      </p:ext>
    </p:extLst>
  </p:cSld>
  <p:clrMapOvr>
    <a:masterClrMapping/>
  </p:clrMapOvr>
  <p:transition spd="med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Innehållsmall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–Johnny Appleseed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2585057" y="3822994"/>
            <a:ext cx="7021887" cy="1487587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3000" dirty="0"/>
            </a:lvl1pPr>
          </a:lstStyle>
          <a:p>
            <a:r>
              <a:rPr lang="sv-SE">
                <a:latin typeface="+mn-lt"/>
              </a:rPr>
              <a:t>Centrerad undertext i lite större storlek när man behöver att ett viktigt budskap ska ta lite extra plats.</a:t>
            </a:r>
          </a:p>
        </p:txBody>
      </p:sp>
      <p:sp>
        <p:nvSpPr>
          <p:cNvPr id="94" name="“Type a quote here.”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2523000" y="1320760"/>
            <a:ext cx="7146000" cy="1333698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4000" dirty="0"/>
            </a:lvl1pPr>
          </a:lstStyle>
          <a:p>
            <a:r>
              <a:rPr lang="sv-SE">
                <a:latin typeface="+mj-lt"/>
              </a:rPr>
              <a:t>En längre centrerad rubrik med ett streck som bryter av </a:t>
            </a:r>
          </a:p>
        </p:txBody>
      </p:sp>
      <p:sp>
        <p:nvSpPr>
          <p:cNvPr id="5" name="Line">
            <a:extLst>
              <a:ext uri="{FF2B5EF4-FFF2-40B4-BE49-F238E27FC236}">
                <a16:creationId xmlns:a16="http://schemas.microsoft.com/office/drawing/2014/main" id="{A9A1B675-00EC-4E85-B2E8-220BB0FDE45B}"/>
              </a:ext>
            </a:extLst>
          </p:cNvPr>
          <p:cNvSpPr/>
          <p:nvPr/>
        </p:nvSpPr>
        <p:spPr>
          <a:xfrm>
            <a:off x="5810716" y="3255902"/>
            <a:ext cx="570566" cy="0"/>
          </a:xfrm>
          <a:prstGeom prst="line">
            <a:avLst/>
          </a:prstGeom>
          <a:ln w="114300">
            <a:solidFill>
              <a:srgbClr val="FFFFFF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latin typeface="+mj-lt"/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6B63282-6719-44F9-BBB7-C74E60F09B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7"/>
            <a:ext cx="384644" cy="281665"/>
          </a:xfrm>
        </p:spPr>
        <p:txBody>
          <a:bodyPr/>
          <a:lstStyle/>
          <a:p>
            <a:fld id="{86CB4B4D-7CA3-9044-876B-883B54F8677D}" type="slidenum">
              <a:rPr lang="sv-SE" smtClean="0"/>
              <a:t>‹#›</a:t>
            </a:fld>
            <a:endParaRPr lang="sv-SE"/>
          </a:p>
        </p:txBody>
      </p:sp>
      <p:sp>
        <p:nvSpPr>
          <p:cNvPr id="8" name="Line">
            <a:extLst>
              <a:ext uri="{FF2B5EF4-FFF2-40B4-BE49-F238E27FC236}">
                <a16:creationId xmlns:a16="http://schemas.microsoft.com/office/drawing/2014/main" id="{690B5143-D9E6-474F-827D-4AF04D87E570}"/>
              </a:ext>
            </a:extLst>
          </p:cNvPr>
          <p:cNvSpPr/>
          <p:nvPr userDrawn="1"/>
        </p:nvSpPr>
        <p:spPr>
          <a:xfrm>
            <a:off x="5850322" y="3276201"/>
            <a:ext cx="485006" cy="0"/>
          </a:xfrm>
          <a:prstGeom prst="line">
            <a:avLst/>
          </a:prstGeom>
          <a:ln w="114300">
            <a:solidFill>
              <a:schemeClr val="tx1"/>
            </a:solidFill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uclid Circular A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2829276232"/>
      </p:ext>
    </p:extLst>
  </p:cSld>
  <p:clrMapOvr>
    <a:masterClrMapping/>
  </p:clrMapOvr>
  <p:transition spd="med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ehållsmall 7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artsradet_national_museum__DSF0863.jpg" descr="Partsradet_national_museum__DSF0863.jpg">
            <a:extLst>
              <a:ext uri="{FF2B5EF4-FFF2-40B4-BE49-F238E27FC236}">
                <a16:creationId xmlns:a16="http://schemas.microsoft.com/office/drawing/2014/main" id="{5D326849-9AB8-47B1-A59D-9730F8C783F8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29927"/>
          </a:blip>
          <a:stretch>
            <a:fillRect/>
          </a:stretch>
        </p:blipFill>
        <p:spPr>
          <a:xfrm>
            <a:off x="1" y="0"/>
            <a:ext cx="12202847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94" name="“Type a quote here.”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1745638" y="2488914"/>
            <a:ext cx="8700725" cy="194925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4000" dirty="0"/>
            </a:lvl1pPr>
          </a:lstStyle>
          <a:p>
            <a:r>
              <a:rPr lang="sv-SE">
                <a:latin typeface="+mj-lt"/>
              </a:rPr>
              <a:t>En centrerad längre rubrik på flera rader med en nedtonad bakgrundsbild när man vill ha en </a:t>
            </a:r>
            <a:r>
              <a:rPr lang="sv-SE" err="1">
                <a:latin typeface="+mj-lt"/>
              </a:rPr>
              <a:t>slide</a:t>
            </a:r>
            <a:r>
              <a:rPr lang="sv-SE">
                <a:latin typeface="+mj-lt"/>
              </a:rPr>
              <a:t> som bryter av lite.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6ECF341-DD30-40AF-AFEE-041F1321A1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7"/>
            <a:ext cx="384644" cy="281665"/>
          </a:xfrm>
        </p:spPr>
        <p:txBody>
          <a:bodyPr/>
          <a:lstStyle/>
          <a:p>
            <a:fld id="{86CB4B4D-7CA3-9044-876B-883B54F8677D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165185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dslin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876891" y="811402"/>
            <a:ext cx="8078525" cy="1143000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000"/>
            </a:lvl1pPr>
          </a:lstStyle>
          <a:p>
            <a:r>
              <a:rPr lang="sv-SE"/>
              <a:t>En lång vänsterställd rubrik på två rader och tidslinje under</a:t>
            </a:r>
            <a:endParaRPr/>
          </a:p>
        </p:txBody>
      </p:sp>
      <p:sp>
        <p:nvSpPr>
          <p:cNvPr id="7" name="Line">
            <a:extLst>
              <a:ext uri="{FF2B5EF4-FFF2-40B4-BE49-F238E27FC236}">
                <a16:creationId xmlns:a16="http://schemas.microsoft.com/office/drawing/2014/main" id="{89D347E3-0012-4A0E-86C4-A6973FD29E30}"/>
              </a:ext>
            </a:extLst>
          </p:cNvPr>
          <p:cNvSpPr/>
          <p:nvPr/>
        </p:nvSpPr>
        <p:spPr>
          <a:xfrm>
            <a:off x="938118" y="3589706"/>
            <a:ext cx="10315764" cy="1"/>
          </a:xfrm>
          <a:prstGeom prst="line">
            <a:avLst/>
          </a:prstGeom>
          <a:ln w="25400">
            <a:solidFill>
              <a:schemeClr val="tx1"/>
            </a:solidFill>
            <a:custDash>
              <a:ds d="200000" sp="200000"/>
            </a:custDash>
            <a:miter lim="400000"/>
            <a:tailEnd type="triangle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ln>
                <a:solidFill>
                  <a:schemeClr val="tx1"/>
                </a:solidFill>
              </a:ln>
              <a:latin typeface="+mn-l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D63BB9-63D0-402D-B7F7-5DD70CB7953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38118" y="4037222"/>
            <a:ext cx="1555750" cy="1492309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5pPr>
              <a:defRPr/>
            </a:lvl5pPr>
          </a:lstStyle>
          <a:p>
            <a:pPr lvl="0"/>
            <a:r>
              <a:rPr lang="sv-SE" noProof="0"/>
              <a:t>Text till tidslinj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2A77119-29DA-4683-BCD0-D82825EBDD6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858123" y="4037222"/>
            <a:ext cx="1555750" cy="1492309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5pPr>
              <a:defRPr/>
            </a:lvl5pPr>
          </a:lstStyle>
          <a:p>
            <a:pPr lvl="0"/>
            <a:r>
              <a:rPr lang="sv-SE" noProof="0"/>
              <a:t>Text till tidslinj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61E8B5D-7D2C-44FF-B4BA-DA763FD75C51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778127" y="4037222"/>
            <a:ext cx="1555750" cy="1492309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5pPr>
              <a:defRPr/>
            </a:lvl5pPr>
          </a:lstStyle>
          <a:p>
            <a:pPr lvl="0"/>
            <a:r>
              <a:rPr lang="sv-SE" noProof="0"/>
              <a:t>Text till tidslinj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AC2AEEE4-A467-4015-8B76-19A098BE56F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698132" y="4037222"/>
            <a:ext cx="1555750" cy="1492309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5pPr>
              <a:defRPr/>
            </a:lvl5pPr>
          </a:lstStyle>
          <a:p>
            <a:pPr lvl="0"/>
            <a:r>
              <a:rPr lang="sv-SE" noProof="0"/>
              <a:t>Text till tidslinje</a:t>
            </a:r>
          </a:p>
        </p:txBody>
      </p:sp>
      <p:sp>
        <p:nvSpPr>
          <p:cNvPr id="25" name="Circle">
            <a:extLst>
              <a:ext uri="{FF2B5EF4-FFF2-40B4-BE49-F238E27FC236}">
                <a16:creationId xmlns:a16="http://schemas.microsoft.com/office/drawing/2014/main" id="{8FFDA874-5DBF-409C-A8F1-7103A28852E4}"/>
              </a:ext>
            </a:extLst>
          </p:cNvPr>
          <p:cNvSpPr/>
          <p:nvPr/>
        </p:nvSpPr>
        <p:spPr>
          <a:xfrm>
            <a:off x="939258" y="3496412"/>
            <a:ext cx="186588" cy="186588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F6F12E13-B40B-4398-A53B-6E9DF61E33D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9257" y="2975745"/>
            <a:ext cx="1555200" cy="292550"/>
          </a:xfrm>
        </p:spPr>
        <p:txBody>
          <a:bodyPr anchor="b">
            <a:normAutofit/>
          </a:bodyPr>
          <a:lstStyle>
            <a:lvl1pPr marL="0" indent="0">
              <a:spcBef>
                <a:spcPts val="50"/>
              </a:spcBef>
              <a:buNone/>
              <a:defRPr sz="1400"/>
            </a:lvl1pPr>
          </a:lstStyle>
          <a:p>
            <a:pPr lvl="0"/>
            <a:r>
              <a:rPr lang="en-US"/>
              <a:t>Steg 1</a:t>
            </a:r>
            <a:endParaRPr lang="sv-SE"/>
          </a:p>
        </p:txBody>
      </p:sp>
      <p:sp>
        <p:nvSpPr>
          <p:cNvPr id="28" name="Text Placeholder 22">
            <a:extLst>
              <a:ext uri="{FF2B5EF4-FFF2-40B4-BE49-F238E27FC236}">
                <a16:creationId xmlns:a16="http://schemas.microsoft.com/office/drawing/2014/main" id="{C041049A-24DC-49FA-98C0-90559F634A1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58122" y="2975744"/>
            <a:ext cx="1555200" cy="292550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1400"/>
            </a:lvl1pPr>
          </a:lstStyle>
          <a:p>
            <a:pPr lvl="0"/>
            <a:r>
              <a:rPr lang="en-US"/>
              <a:t>Steg 2</a:t>
            </a:r>
          </a:p>
        </p:txBody>
      </p:sp>
      <p:sp>
        <p:nvSpPr>
          <p:cNvPr id="29" name="Text Placeholder 22">
            <a:extLst>
              <a:ext uri="{FF2B5EF4-FFF2-40B4-BE49-F238E27FC236}">
                <a16:creationId xmlns:a16="http://schemas.microsoft.com/office/drawing/2014/main" id="{ABDBA522-6A4F-46F4-B015-A48AB50288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986" y="2975744"/>
            <a:ext cx="1555200" cy="292550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1400"/>
            </a:lvl1pPr>
          </a:lstStyle>
          <a:p>
            <a:pPr lvl="0"/>
            <a:r>
              <a:rPr lang="en-US"/>
              <a:t>Steg 3</a:t>
            </a:r>
            <a:endParaRPr lang="sv-SE"/>
          </a:p>
        </p:txBody>
      </p:sp>
      <p:sp>
        <p:nvSpPr>
          <p:cNvPr id="30" name="Text Placeholder 22">
            <a:extLst>
              <a:ext uri="{FF2B5EF4-FFF2-40B4-BE49-F238E27FC236}">
                <a16:creationId xmlns:a16="http://schemas.microsoft.com/office/drawing/2014/main" id="{828B8332-A76E-4C09-94B2-941DAB3C190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695851" y="2975743"/>
            <a:ext cx="1555200" cy="292550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1400"/>
            </a:lvl1pPr>
          </a:lstStyle>
          <a:p>
            <a:pPr lvl="0"/>
            <a:r>
              <a:rPr lang="en-US"/>
              <a:t>Steg 4</a:t>
            </a:r>
            <a:endParaRPr lang="sv-SE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2EF631A2-0DB8-4BD8-BED7-AC0EA6E70F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7"/>
            <a:ext cx="384644" cy="281665"/>
          </a:xfrm>
        </p:spPr>
        <p:txBody>
          <a:bodyPr/>
          <a:lstStyle/>
          <a:p>
            <a:fld id="{86CB4B4D-7CA3-9044-876B-883B54F8677D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21079575"/>
      </p:ext>
    </p:extLst>
  </p:cSld>
  <p:clrMapOvr>
    <a:masterClrMapping/>
  </p:clrMapOvr>
  <p:transition spd="med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–Johnny Appleseed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2945804" y="5396214"/>
            <a:ext cx="6325059" cy="79367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ctr" defTabSz="228600">
              <a:lnSpc>
                <a:spcPct val="130000"/>
              </a:lnSpc>
              <a:spcBef>
                <a:spcPts val="0"/>
              </a:spcBef>
              <a:buSzTx/>
              <a:buNone/>
              <a:defRPr lang="sv-SE" sz="1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lvl1pPr>
          </a:lstStyle>
          <a:p>
            <a:pPr defTabSz="457200">
              <a:lnSpc>
                <a:spcPct val="130000"/>
              </a:lnSpc>
              <a:defRPr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800">
                <a:latin typeface="+mn-lt"/>
              </a:rPr>
              <a:t>Jane Doe Smith</a:t>
            </a:r>
          </a:p>
          <a:p>
            <a:pPr defTabSz="457200">
              <a:lnSpc>
                <a:spcPct val="130000"/>
              </a:lnSpc>
              <a:defRPr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800">
                <a:latin typeface="+mn-lt"/>
              </a:rPr>
              <a:t>Arbetslivsforskare &amp; Föreläsare</a:t>
            </a:r>
          </a:p>
        </p:txBody>
      </p:sp>
      <p:sp>
        <p:nvSpPr>
          <p:cNvPr id="94" name="“Type a quote here.”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1578967" y="1522798"/>
            <a:ext cx="9034066" cy="896655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 defTabSz="228600">
              <a:lnSpc>
                <a:spcPct val="90000"/>
              </a:lnSpc>
              <a:spcBef>
                <a:spcPts val="0"/>
              </a:spcBef>
              <a:buSzTx/>
              <a:buNone/>
              <a:defRPr lang="sv-SE" sz="8000" b="0" spc="-159">
                <a:latin typeface="Euclid Circular B SemiBold"/>
                <a:ea typeface="Euclid Circular B SemiBold"/>
                <a:cs typeface="Euclid Circular B SemiBold"/>
                <a:sym typeface="Euclid Circular B SemiBold"/>
              </a:defRPr>
            </a:lvl1pPr>
          </a:lstStyle>
          <a:p>
            <a:pPr defTabSz="457200">
              <a:lnSpc>
                <a:spcPct val="90000"/>
              </a:lnSpc>
              <a:defRPr sz="8000" b="0" spc="-159">
                <a:latin typeface="Euclid Circular B SemiBold"/>
                <a:ea typeface="Euclid Circular B SemiBold"/>
                <a:cs typeface="Euclid Circular B SemiBold"/>
                <a:sym typeface="Euclid Circular B SemiBold"/>
              </a:defRPr>
            </a:pPr>
            <a:r>
              <a:rPr lang="sv-SE">
                <a:latin typeface="+mj-lt"/>
              </a:rPr>
              <a:t>“</a:t>
            </a:r>
          </a:p>
          <a:p>
            <a:pPr defTabSz="457200">
              <a:lnSpc>
                <a:spcPct val="90000"/>
              </a:lnSpc>
              <a:defRPr sz="8000" b="0" spc="-159">
                <a:latin typeface="Euclid Circular B SemiBold"/>
                <a:ea typeface="Euclid Circular B SemiBold"/>
                <a:cs typeface="Euclid Circular B SemiBold"/>
                <a:sym typeface="Euclid Circular B SemiBold"/>
              </a:defRPr>
            </a:pPr>
            <a:r>
              <a:rPr lang="sv-SE">
                <a:latin typeface="+mj-lt"/>
              </a:rPr>
              <a:t>Ett citat </a:t>
            </a:r>
            <a:r>
              <a:rPr lang="sv-SE" err="1">
                <a:latin typeface="+mj-lt"/>
              </a:rPr>
              <a:t>dolor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sit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amet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consectetur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adipiscing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elitia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justo</a:t>
            </a:r>
            <a:r>
              <a:rPr lang="sv-SE">
                <a:latin typeface="+mj-lt"/>
              </a:rPr>
              <a:t> eget </a:t>
            </a:r>
            <a:r>
              <a:rPr lang="sv-SE" err="1">
                <a:latin typeface="+mj-lt"/>
              </a:rPr>
              <a:t>nislo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ullam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corper</a:t>
            </a:r>
            <a:r>
              <a:rPr lang="sv-SE">
                <a:latin typeface="+mj-lt"/>
              </a:rPr>
              <a:t> ide </a:t>
            </a:r>
            <a:r>
              <a:rPr lang="sv-SE" err="1">
                <a:latin typeface="+mj-lt"/>
              </a:rPr>
              <a:t>ornare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lacerat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diam</a:t>
            </a:r>
            <a:r>
              <a:rPr lang="sv-SE">
                <a:latin typeface="+mj-lt"/>
              </a:rPr>
              <a:t> </a:t>
            </a:r>
            <a:r>
              <a:rPr lang="sv-SE" err="1">
                <a:latin typeface="+mj-lt"/>
              </a:rPr>
              <a:t>fermentum</a:t>
            </a:r>
            <a:r>
              <a:rPr lang="sv-SE">
                <a:latin typeface="+mj-lt"/>
              </a:rPr>
              <a:t>.</a:t>
            </a:r>
          </a:p>
          <a:p>
            <a:pPr defTabSz="457200">
              <a:lnSpc>
                <a:spcPct val="90000"/>
              </a:lnSpc>
              <a:defRPr sz="8000" b="0" spc="-159">
                <a:latin typeface="Euclid Circular B SemiBold"/>
                <a:ea typeface="Euclid Circular B SemiBold"/>
                <a:cs typeface="Euclid Circular B SemiBold"/>
                <a:sym typeface="Euclid Circular B SemiBold"/>
              </a:defRPr>
            </a:pPr>
            <a:r>
              <a:rPr lang="sv-SE">
                <a:latin typeface="+mj-lt"/>
              </a:rPr>
              <a:t>“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D81E941-88DB-463E-8904-3197058A1C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7"/>
            <a:ext cx="384644" cy="281665"/>
          </a:xfrm>
        </p:spPr>
        <p:txBody>
          <a:bodyPr/>
          <a:lstStyle/>
          <a:p>
            <a:fld id="{86CB4B4D-7CA3-9044-876B-883B54F8677D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43584312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Innehållsmal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876891" y="811402"/>
            <a:ext cx="8078525" cy="1143000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lang="sv-SE" sz="4000" smtClean="0"/>
            </a:lvl1pPr>
          </a:lstStyle>
          <a:p>
            <a:r>
              <a:rPr lang="sv-SE">
                <a:latin typeface="+mj-lt"/>
              </a:rPr>
              <a:t>En lång vänsterställd rubrik på två rader med en hel del text</a:t>
            </a:r>
            <a:endParaRPr/>
          </a:p>
        </p:txBody>
      </p:sp>
      <p:sp>
        <p:nvSpPr>
          <p:cNvPr id="57" name="Body Level One…"/>
          <p:cNvSpPr txBox="1">
            <a:spLocks noGrp="1"/>
          </p:cNvSpPr>
          <p:nvPr>
            <p:ph type="body" idx="1" hasCustomPrompt="1"/>
          </p:nvPr>
        </p:nvSpPr>
        <p:spPr>
          <a:xfrm>
            <a:off x="876891" y="2522637"/>
            <a:ext cx="4527726" cy="3244542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  <a:lvl2pPr marL="317500" indent="0">
              <a:buNone/>
              <a:defRPr sz="1800"/>
            </a:lvl2pPr>
            <a:lvl3pPr marL="635000" indent="0">
              <a:buNone/>
              <a:defRPr sz="1800"/>
            </a:lvl3pPr>
            <a:lvl4pPr marL="952500" indent="0">
              <a:buNone/>
              <a:defRPr sz="1800"/>
            </a:lvl4pPr>
            <a:lvl5pPr marL="1270000" indent="0">
              <a:buNone/>
              <a:defRPr sz="1800"/>
            </a:lvl5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1" name="Body Level One…">
            <a:extLst>
              <a:ext uri="{FF2B5EF4-FFF2-40B4-BE49-F238E27FC236}">
                <a16:creationId xmlns:a16="http://schemas.microsoft.com/office/drawing/2014/main" id="{906D06E3-1A4E-4D18-8BD9-877AD4D2AAD3}"/>
              </a:ext>
            </a:extLst>
          </p:cNvPr>
          <p:cNvSpPr txBox="1">
            <a:spLocks noGrp="1"/>
          </p:cNvSpPr>
          <p:nvPr>
            <p:ph type="body" idx="10" hasCustomPrompt="1"/>
          </p:nvPr>
        </p:nvSpPr>
        <p:spPr>
          <a:xfrm>
            <a:off x="6270539" y="2522637"/>
            <a:ext cx="4527726" cy="3244542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1800"/>
            </a:lvl1pPr>
            <a:lvl2pPr marL="317500" indent="0">
              <a:buNone/>
              <a:defRPr sz="1800"/>
            </a:lvl2pPr>
            <a:lvl3pPr marL="635000" indent="0">
              <a:buNone/>
              <a:defRPr sz="1800"/>
            </a:lvl3pPr>
            <a:lvl4pPr marL="952500" indent="0">
              <a:buNone/>
              <a:defRPr sz="1800"/>
            </a:lvl4pPr>
            <a:lvl5pPr marL="1270000" indent="0">
              <a:buNone/>
              <a:defRPr sz="1800"/>
            </a:lvl5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8D657599-58DA-4648-8A70-DCBC3156B2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7"/>
            <a:ext cx="384644" cy="28166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8114D91-4524-0541-9CCE-86E92887A391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29770564"/>
      </p:ext>
    </p:extLst>
  </p:cSld>
  <p:clrMapOvr>
    <a:masterClrMapping/>
  </p:clrMapOvr>
  <p:transition spd="med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bg>
      <p:bgPr>
        <a:solidFill>
          <a:schemeClr val="accent6">
            <a:lumMod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37493C6-A516-405A-9C65-32A693EF1B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549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37493C6-A516-405A-9C65-32A693EF1B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Uppsala_universitet__DSF1814 (1).jpg" descr="Uppsala_universitet__DSF1814 (1).jpg">
            <a:extLst>
              <a:ext uri="{FF2B5EF4-FFF2-40B4-BE49-F238E27FC236}">
                <a16:creationId xmlns:a16="http://schemas.microsoft.com/office/drawing/2014/main" id="{BE38D9EF-ABAE-413C-A348-2EC58B819BB3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35895" t="4112" r="25514" b="7547"/>
          <a:stretch>
            <a:fillRect/>
          </a:stretch>
        </p:blipFill>
        <p:spPr>
          <a:xfrm>
            <a:off x="-1405" y="-4910"/>
            <a:ext cx="5338148" cy="6867819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En längre rubrik med bullet points">
            <a:extLst>
              <a:ext uri="{FF2B5EF4-FFF2-40B4-BE49-F238E27FC236}">
                <a16:creationId xmlns:a16="http://schemas.microsoft.com/office/drawing/2014/main" id="{24D5894E-F043-4021-B295-2792A530E7EF}"/>
              </a:ext>
            </a:extLst>
          </p:cNvPr>
          <p:cNvSpPr txBox="1"/>
          <p:nvPr/>
        </p:nvSpPr>
        <p:spPr>
          <a:xfrm>
            <a:off x="5885574" y="1428900"/>
            <a:ext cx="5206608" cy="6052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25400" tIns="25400" rIns="25400" bIns="25400" anchor="b">
            <a:spAutoFit/>
          </a:bodyPr>
          <a:lstStyle>
            <a:lvl1pPr algn="l" defTabSz="457200">
              <a:lnSpc>
                <a:spcPct val="90000"/>
              </a:lnSpc>
              <a:defRPr sz="8000" b="0" spc="-159">
                <a:latin typeface="Euclid Circular B SemiBold"/>
                <a:ea typeface="Euclid Circular B SemiBold"/>
                <a:cs typeface="Euclid Circular B SemiBold"/>
                <a:sym typeface="Euclid Circular B SemiBold"/>
              </a:defRPr>
            </a:lvl1pPr>
          </a:lstStyle>
          <a:p>
            <a:pPr marL="0" marR="0" lvl="0" indent="0" algn="l" defTabSz="228600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4000" b="0" i="0" u="none" strike="noStrike" kern="0" cap="none" spc="-8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uclid Circular A"/>
                <a:sym typeface="Euclid Circular B SemiBold"/>
              </a:rPr>
              <a:t>Agenda</a:t>
            </a:r>
            <a:endParaRPr kumimoji="0" sz="4000" b="0" i="0" u="none" strike="noStrike" kern="0" cap="none" spc="-8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uclid Circular A"/>
              <a:sym typeface="Euclid Circular B SemiBold"/>
            </a:endParaRP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D95FFDAE-0C67-4683-961C-980DF9143C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92182" y="643556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>
              <a:defRPr/>
            </a:pPr>
            <a:fld id="{230B0BE5-CE6F-47C0-8523-155D8C80793A}" type="slidenum">
              <a:rPr lang="sv-SE" smtClean="0"/>
              <a:pPr>
                <a:defRPr/>
              </a:pPr>
              <a:t>‹#›</a:t>
            </a:fld>
            <a:endParaRPr lang="sv-SE"/>
          </a:p>
        </p:txBody>
      </p:sp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5E19C94-876E-42EA-80D5-482E74AEC7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5503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98" imgH="499" progId="TCLayout.ActiveDocument.1">
                  <p:embed/>
                </p:oleObj>
              </mc:Choice>
              <mc:Fallback>
                <p:oleObj name="think-cell Slide" r:id="rId7" imgW="498" imgH="49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25E19C94-876E-42EA-80D5-482E74AEC7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Uppsala_universitet__DSF1814 (1).jpg" descr="Uppsala_universitet__DSF1814 (1).jpg">
            <a:extLst>
              <a:ext uri="{FF2B5EF4-FFF2-40B4-BE49-F238E27FC236}">
                <a16:creationId xmlns:a16="http://schemas.microsoft.com/office/drawing/2014/main" id="{45582BBC-EA73-490F-9030-A827852624F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 l="35895" t="4112" r="25514" b="7547"/>
          <a:stretch>
            <a:fillRect/>
          </a:stretch>
        </p:blipFill>
        <p:spPr>
          <a:xfrm>
            <a:off x="-1405" y="-4910"/>
            <a:ext cx="5338148" cy="6867819"/>
          </a:xfrm>
          <a:prstGeom prst="rect">
            <a:avLst/>
          </a:prstGeom>
          <a:ln w="12700">
            <a:miter lim="400000"/>
          </a:ln>
        </p:spPr>
      </p:pic>
      <p:sp>
        <p:nvSpPr>
          <p:cNvPr id="15" name="En längre rubrik med bullet points">
            <a:extLst>
              <a:ext uri="{FF2B5EF4-FFF2-40B4-BE49-F238E27FC236}">
                <a16:creationId xmlns:a16="http://schemas.microsoft.com/office/drawing/2014/main" id="{5C7369F5-F3A9-4AEF-A506-2B5C18CE9C7F}"/>
              </a:ext>
            </a:extLst>
          </p:cNvPr>
          <p:cNvSpPr txBox="1"/>
          <p:nvPr userDrawn="1"/>
        </p:nvSpPr>
        <p:spPr>
          <a:xfrm>
            <a:off x="5885574" y="1428900"/>
            <a:ext cx="5206608" cy="6052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b">
            <a:spAutoFit/>
          </a:bodyPr>
          <a:lstStyle>
            <a:lvl1pPr algn="l" defTabSz="457200">
              <a:lnSpc>
                <a:spcPct val="90000"/>
              </a:lnSpc>
              <a:defRPr sz="8000" b="0" spc="-159">
                <a:latin typeface="Euclid Circular B SemiBold"/>
                <a:ea typeface="Euclid Circular B SemiBold"/>
                <a:cs typeface="Euclid Circular B SemiBold"/>
                <a:sym typeface="Euclid Circular B SemiBold"/>
              </a:defRPr>
            </a:lvl1pPr>
          </a:lstStyle>
          <a:p>
            <a:pPr marL="0" marR="0" lvl="0" indent="0" algn="l" defTabSz="228600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4000" b="0" i="0" u="none" strike="noStrike" kern="0" cap="none" spc="-8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uclid Circular A"/>
                <a:sym typeface="Euclid Circular B SemiBold"/>
              </a:rPr>
              <a:t>Agenda</a:t>
            </a:r>
            <a:endParaRPr kumimoji="0" sz="4000" b="0" i="0" u="none" strike="noStrike" kern="0" cap="none" spc="-8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Euclid Circular A"/>
              <a:sym typeface="Euclid Circular B SemiBold"/>
            </a:endParaRPr>
          </a:p>
        </p:txBody>
      </p:sp>
      <p:sp>
        <p:nvSpPr>
          <p:cNvPr id="16" name="Bullet point lorem de loro…">
            <a:extLst>
              <a:ext uri="{FF2B5EF4-FFF2-40B4-BE49-F238E27FC236}">
                <a16:creationId xmlns:a16="http://schemas.microsoft.com/office/drawing/2014/main" id="{C51D953D-8B0F-46FF-A5CA-976EA492FC71}"/>
              </a:ext>
            </a:extLst>
          </p:cNvPr>
          <p:cNvSpPr txBox="1"/>
          <p:nvPr userDrawn="1"/>
        </p:nvSpPr>
        <p:spPr>
          <a:xfrm>
            <a:off x="5885574" y="2586016"/>
            <a:ext cx="5206608" cy="32976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>
            <a:spAutoFit/>
          </a:bodyPr>
          <a:lstStyle/>
          <a:p>
            <a:pPr marL="185208" marR="0" lvl="0" indent="-185208" algn="l" defTabSz="228600" rtl="0" eaLnBrk="1" fontAlgn="auto" latinLnBrk="0" hangingPunct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089086"/>
              </a:buClr>
              <a:buSzPct val="125000"/>
              <a:buFontTx/>
              <a:buChar char="•"/>
              <a:tabLst/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kumimoji="0" lang="sv-S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uclid Circular A"/>
                <a:sym typeface="Euclid Circular B Regular"/>
              </a:rPr>
              <a:t>Introduktion</a:t>
            </a:r>
          </a:p>
          <a:p>
            <a:pPr marL="185208" marR="0" lvl="0" indent="-185208" algn="l" defTabSz="228600" rtl="0" eaLnBrk="1" fontAlgn="auto" latinLnBrk="0" hangingPunct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089086"/>
              </a:buClr>
              <a:buSzPct val="125000"/>
              <a:buFontTx/>
              <a:buChar char="•"/>
              <a:tabLst/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kumimoji="0" lang="sv-S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uclid Circular A"/>
                <a:sym typeface="Euclid Circular B Regular"/>
              </a:rPr>
              <a:t>Tidigt agerande – en nyckelfaktor</a:t>
            </a:r>
          </a:p>
          <a:p>
            <a:pPr marL="185208" marR="0" lvl="0" indent="-185208" algn="l" defTabSz="228600" rtl="0" eaLnBrk="1" fontAlgn="auto" latinLnBrk="0" hangingPunct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089086"/>
              </a:buClr>
              <a:buSzPct val="125000"/>
              <a:buFontTx/>
              <a:buChar char="•"/>
              <a:tabLst/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kumimoji="0" lang="sv-S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uclid Circular A"/>
                <a:sym typeface="Euclid Circular B Regular"/>
              </a:rPr>
              <a:t>Tidiga tecken på stress</a:t>
            </a:r>
          </a:p>
          <a:p>
            <a:pPr marL="185208" marR="0" lvl="0" indent="-185208" algn="l" defTabSz="228600" rtl="0" eaLnBrk="1" fontAlgn="auto" latinLnBrk="0" hangingPunct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089086"/>
              </a:buClr>
              <a:buSzPct val="125000"/>
              <a:buFontTx/>
              <a:buChar char="•"/>
              <a:tabLst/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kumimoji="0" lang="sv-S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uclid Circular A"/>
                <a:sym typeface="Euclid Circular B Regular"/>
              </a:rPr>
              <a:t>Psykologisk trygghet</a:t>
            </a:r>
          </a:p>
          <a:p>
            <a:pPr marL="185208" marR="0" lvl="0" indent="-185208" algn="l" defTabSz="228600" rtl="0" eaLnBrk="1" fontAlgn="auto" latinLnBrk="0" hangingPunct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089086"/>
              </a:buClr>
              <a:buSzPct val="125000"/>
              <a:buFontTx/>
              <a:buChar char="•"/>
              <a:tabLst/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kumimoji="0" lang="sv-S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uclid Circular A"/>
                <a:sym typeface="Euclid Circular B Regular"/>
              </a:rPr>
              <a:t>Tre steg för att fånga tidiga tecken</a:t>
            </a:r>
          </a:p>
          <a:p>
            <a:pPr marL="185208" marR="0" lvl="0" indent="-185208" algn="l" defTabSz="228600" rtl="0" eaLnBrk="1" fontAlgn="auto" latinLnBrk="0" hangingPunct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089086"/>
              </a:buClr>
              <a:buSzPct val="125000"/>
              <a:buFontTx/>
              <a:buChar char="•"/>
              <a:tabLst/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kumimoji="0" lang="sv-SE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Euclid Circular A"/>
                <a:sym typeface="Euclid Circular B Regular"/>
              </a:rPr>
              <a:t>Sammanfattning och avslut</a:t>
            </a:r>
          </a:p>
        </p:txBody>
      </p:sp>
    </p:spTree>
    <p:extLst>
      <p:ext uri="{BB962C8B-B14F-4D97-AF65-F5344CB8AC3E}">
        <p14:creationId xmlns:p14="http://schemas.microsoft.com/office/powerpoint/2010/main" val="258082856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ärgko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ruta 2">
            <a:extLst>
              <a:ext uri="{FF2B5EF4-FFF2-40B4-BE49-F238E27FC236}">
                <a16:creationId xmlns:a16="http://schemas.microsoft.com/office/drawing/2014/main" id="{B0566F99-6542-4734-A895-CE3FB1E380E3}"/>
              </a:ext>
            </a:extLst>
          </p:cNvPr>
          <p:cNvSpPr txBox="1"/>
          <p:nvPr/>
        </p:nvSpPr>
        <p:spPr>
          <a:xfrm>
            <a:off x="975952" y="731280"/>
            <a:ext cx="1832018" cy="11592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sv-SE" sz="2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Euclid Circular A SemiBold" panose="020B0704000000000000" pitchFamily="34" charset="0"/>
                <a:cs typeface="Arial" panose="020B0604020202020204" pitchFamily="34" charset="0"/>
                <a:sym typeface="Helvetica Neue"/>
              </a:rPr>
              <a:t>Färgpalett</a:t>
            </a:r>
          </a:p>
          <a:p>
            <a:pPr marL="0" marR="0" indent="0" algn="l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sv-SE" sz="1600" b="0">
                <a:latin typeface="+mn-lt"/>
                <a:ea typeface="Euclid Circular A" panose="020B0504000000000000" pitchFamily="34" charset="0"/>
                <a:cs typeface="Arial" panose="020B0604020202020204" pitchFamily="34" charset="0"/>
              </a:rPr>
              <a:t>Ändra färg på en mallsida? Kopiera #-färgkoden här.</a:t>
            </a:r>
            <a:endParaRPr kumimoji="0" lang="sv-SE" sz="1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Euclid Circular A" panose="020B0504000000000000" pitchFamily="34" charset="0"/>
              <a:cs typeface="Arial" panose="020B0604020202020204" pitchFamily="34" charset="0"/>
              <a:sym typeface="Helvetica Neue"/>
            </a:endParaRPr>
          </a:p>
        </p:txBody>
      </p:sp>
      <p:grpSp>
        <p:nvGrpSpPr>
          <p:cNvPr id="5" name="Grupp 39">
            <a:extLst>
              <a:ext uri="{FF2B5EF4-FFF2-40B4-BE49-F238E27FC236}">
                <a16:creationId xmlns:a16="http://schemas.microsoft.com/office/drawing/2014/main" id="{BDFF3D81-C5AD-485E-AFE0-E20E3E002836}"/>
              </a:ext>
            </a:extLst>
          </p:cNvPr>
          <p:cNvGrpSpPr/>
          <p:nvPr/>
        </p:nvGrpSpPr>
        <p:grpSpPr>
          <a:xfrm>
            <a:off x="944880" y="1037144"/>
            <a:ext cx="10302240" cy="4869438"/>
            <a:chOff x="1889760" y="2074288"/>
            <a:chExt cx="20604480" cy="9738875"/>
          </a:xfrm>
        </p:grpSpPr>
        <p:sp>
          <p:nvSpPr>
            <p:cNvPr id="6" name="Rektangel 42">
              <a:extLst>
                <a:ext uri="{FF2B5EF4-FFF2-40B4-BE49-F238E27FC236}">
                  <a16:creationId xmlns:a16="http://schemas.microsoft.com/office/drawing/2014/main" id="{E3C86491-142E-48D9-81F1-164AD28AF0EF}"/>
                </a:ext>
              </a:extLst>
            </p:cNvPr>
            <p:cNvSpPr/>
            <p:nvPr/>
          </p:nvSpPr>
          <p:spPr>
            <a:xfrm>
              <a:off x="6160770" y="2576990"/>
              <a:ext cx="3417570" cy="492442"/>
            </a:xfrm>
            <a:prstGeom prst="rect">
              <a:avLst/>
            </a:prstGeom>
            <a:solidFill>
              <a:srgbClr val="27234A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7" name="textruta 43">
              <a:extLst>
                <a:ext uri="{FF2B5EF4-FFF2-40B4-BE49-F238E27FC236}">
                  <a16:creationId xmlns:a16="http://schemas.microsoft.com/office/drawing/2014/main" id="{C5AB0D60-4242-4C9C-B7BA-A0D421B3E793}"/>
                </a:ext>
              </a:extLst>
            </p:cNvPr>
            <p:cNvSpPr txBox="1"/>
            <p:nvPr/>
          </p:nvSpPr>
          <p:spPr>
            <a:xfrm>
              <a:off x="6863716" y="2074288"/>
              <a:ext cx="2011680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Nattblå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#27234A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96 94 36 40</a:t>
              </a:r>
            </a:p>
          </p:txBody>
        </p:sp>
        <p:sp>
          <p:nvSpPr>
            <p:cNvPr id="8" name="Rektangel 44">
              <a:extLst>
                <a:ext uri="{FF2B5EF4-FFF2-40B4-BE49-F238E27FC236}">
                  <a16:creationId xmlns:a16="http://schemas.microsoft.com/office/drawing/2014/main" id="{93160D2A-5760-4A7C-9C61-B174C1BEFC22}"/>
                </a:ext>
              </a:extLst>
            </p:cNvPr>
            <p:cNvSpPr/>
            <p:nvPr/>
          </p:nvSpPr>
          <p:spPr>
            <a:xfrm>
              <a:off x="19050000" y="2576990"/>
              <a:ext cx="3444240" cy="492442"/>
            </a:xfrm>
            <a:prstGeom prst="rect">
              <a:avLst/>
            </a:prstGeom>
            <a:solidFill>
              <a:srgbClr val="4D345F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9" name="textruta 45">
              <a:extLst>
                <a:ext uri="{FF2B5EF4-FFF2-40B4-BE49-F238E27FC236}">
                  <a16:creationId xmlns:a16="http://schemas.microsoft.com/office/drawing/2014/main" id="{6AB83EAF-153C-45E5-8029-AB8C0BBBA721}"/>
                </a:ext>
              </a:extLst>
            </p:cNvPr>
            <p:cNvSpPr txBox="1"/>
            <p:nvPr/>
          </p:nvSpPr>
          <p:spPr>
            <a:xfrm>
              <a:off x="19785330" y="2074288"/>
              <a:ext cx="2011680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Djuplila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#4D345F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78 85 32 25</a:t>
              </a:r>
            </a:p>
          </p:txBody>
        </p:sp>
        <p:sp>
          <p:nvSpPr>
            <p:cNvPr id="10" name="Rektangel 46">
              <a:extLst>
                <a:ext uri="{FF2B5EF4-FFF2-40B4-BE49-F238E27FC236}">
                  <a16:creationId xmlns:a16="http://schemas.microsoft.com/office/drawing/2014/main" id="{4536024D-839A-4DD7-81D9-4BFA355E8AF8}"/>
                </a:ext>
              </a:extLst>
            </p:cNvPr>
            <p:cNvSpPr/>
            <p:nvPr/>
          </p:nvSpPr>
          <p:spPr>
            <a:xfrm>
              <a:off x="10462260" y="2576990"/>
              <a:ext cx="3417570" cy="492442"/>
            </a:xfrm>
            <a:prstGeom prst="rect">
              <a:avLst/>
            </a:prstGeom>
            <a:solidFill>
              <a:srgbClr val="33336B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11" name="textruta 47">
              <a:extLst>
                <a:ext uri="{FF2B5EF4-FFF2-40B4-BE49-F238E27FC236}">
                  <a16:creationId xmlns:a16="http://schemas.microsoft.com/office/drawing/2014/main" id="{FFECF094-93E7-436C-9BD2-F15CB9F3C8B0}"/>
                </a:ext>
              </a:extLst>
            </p:cNvPr>
            <p:cNvSpPr txBox="1"/>
            <p:nvPr/>
          </p:nvSpPr>
          <p:spPr>
            <a:xfrm>
              <a:off x="10980420" y="2074288"/>
              <a:ext cx="2479350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Skymningsblå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#33336b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95 89 25 14</a:t>
              </a:r>
            </a:p>
          </p:txBody>
        </p:sp>
        <p:sp>
          <p:nvSpPr>
            <p:cNvPr id="12" name="Rektangel 48">
              <a:extLst>
                <a:ext uri="{FF2B5EF4-FFF2-40B4-BE49-F238E27FC236}">
                  <a16:creationId xmlns:a16="http://schemas.microsoft.com/office/drawing/2014/main" id="{83394ADD-83F4-4707-8FDA-9C4854889A89}"/>
                </a:ext>
              </a:extLst>
            </p:cNvPr>
            <p:cNvSpPr/>
            <p:nvPr/>
          </p:nvSpPr>
          <p:spPr>
            <a:xfrm>
              <a:off x="14733270" y="2576990"/>
              <a:ext cx="3444240" cy="492442"/>
            </a:xfrm>
            <a:prstGeom prst="rect">
              <a:avLst/>
            </a:prstGeom>
            <a:solidFill>
              <a:srgbClr val="30488E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13" name="textruta 49">
              <a:extLst>
                <a:ext uri="{FF2B5EF4-FFF2-40B4-BE49-F238E27FC236}">
                  <a16:creationId xmlns:a16="http://schemas.microsoft.com/office/drawing/2014/main" id="{5FFCD1FD-4F6F-4BA1-B7AB-16DBBA6D6FCE}"/>
                </a:ext>
              </a:extLst>
            </p:cNvPr>
            <p:cNvSpPr txBox="1"/>
            <p:nvPr/>
          </p:nvSpPr>
          <p:spPr>
            <a:xfrm>
              <a:off x="15278100" y="2074288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Klarblå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#30488E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93 76 10 1</a:t>
              </a:r>
            </a:p>
          </p:txBody>
        </p:sp>
        <p:sp>
          <p:nvSpPr>
            <p:cNvPr id="14" name="Rektangel 50">
              <a:extLst>
                <a:ext uri="{FF2B5EF4-FFF2-40B4-BE49-F238E27FC236}">
                  <a16:creationId xmlns:a16="http://schemas.microsoft.com/office/drawing/2014/main" id="{F879382C-1A40-4D48-B120-6F167043E4A5}"/>
                </a:ext>
              </a:extLst>
            </p:cNvPr>
            <p:cNvSpPr/>
            <p:nvPr/>
          </p:nvSpPr>
          <p:spPr>
            <a:xfrm>
              <a:off x="1889760" y="6661310"/>
              <a:ext cx="3417570" cy="492442"/>
            </a:xfrm>
            <a:prstGeom prst="rect">
              <a:avLst/>
            </a:prstGeom>
            <a:solidFill>
              <a:srgbClr val="154E45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15" name="textruta 51">
              <a:extLst>
                <a:ext uri="{FF2B5EF4-FFF2-40B4-BE49-F238E27FC236}">
                  <a16:creationId xmlns:a16="http://schemas.microsoft.com/office/drawing/2014/main" id="{D9813EF4-18BB-44BB-B675-E9F83BC5ACF0}"/>
                </a:ext>
              </a:extLst>
            </p:cNvPr>
            <p:cNvSpPr txBox="1"/>
            <p:nvPr/>
          </p:nvSpPr>
          <p:spPr>
            <a:xfrm>
              <a:off x="2421254" y="6158608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Skogsgrön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#154E45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87 42 64 46</a:t>
              </a:r>
            </a:p>
          </p:txBody>
        </p:sp>
        <p:sp>
          <p:nvSpPr>
            <p:cNvPr id="16" name="Rektangel 52">
              <a:extLst>
                <a:ext uri="{FF2B5EF4-FFF2-40B4-BE49-F238E27FC236}">
                  <a16:creationId xmlns:a16="http://schemas.microsoft.com/office/drawing/2014/main" id="{E14167BC-8DDD-4362-A19F-7395E5A43BFA}"/>
                </a:ext>
              </a:extLst>
            </p:cNvPr>
            <p:cNvSpPr/>
            <p:nvPr/>
          </p:nvSpPr>
          <p:spPr>
            <a:xfrm>
              <a:off x="10488930" y="6661310"/>
              <a:ext cx="3390900" cy="492442"/>
            </a:xfrm>
            <a:prstGeom prst="rect">
              <a:avLst/>
            </a:prstGeom>
            <a:solidFill>
              <a:srgbClr val="089086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17" name="textruta 53">
              <a:extLst>
                <a:ext uri="{FF2B5EF4-FFF2-40B4-BE49-F238E27FC236}">
                  <a16:creationId xmlns:a16="http://schemas.microsoft.com/office/drawing/2014/main" id="{3BB92740-3B79-4E60-8B6D-2649C66D14EE}"/>
                </a:ext>
              </a:extLst>
            </p:cNvPr>
            <p:cNvSpPr txBox="1"/>
            <p:nvPr/>
          </p:nvSpPr>
          <p:spPr>
            <a:xfrm>
              <a:off x="11007090" y="6109078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Oceangrön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#089086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81 20 51 4</a:t>
              </a:r>
            </a:p>
          </p:txBody>
        </p:sp>
        <p:sp>
          <p:nvSpPr>
            <p:cNvPr id="18" name="Rektangel 54">
              <a:extLst>
                <a:ext uri="{FF2B5EF4-FFF2-40B4-BE49-F238E27FC236}">
                  <a16:creationId xmlns:a16="http://schemas.microsoft.com/office/drawing/2014/main" id="{0C313DF5-BB6E-4086-ACED-00F44DF28A41}"/>
                </a:ext>
              </a:extLst>
            </p:cNvPr>
            <p:cNvSpPr/>
            <p:nvPr/>
          </p:nvSpPr>
          <p:spPr>
            <a:xfrm>
              <a:off x="14759940" y="6661310"/>
              <a:ext cx="3417570" cy="492442"/>
            </a:xfrm>
            <a:prstGeom prst="rect">
              <a:avLst/>
            </a:prstGeom>
            <a:solidFill>
              <a:srgbClr val="009BA2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19" name="textruta 55">
              <a:extLst>
                <a:ext uri="{FF2B5EF4-FFF2-40B4-BE49-F238E27FC236}">
                  <a16:creationId xmlns:a16="http://schemas.microsoft.com/office/drawing/2014/main" id="{422380E3-2696-4C74-ABA9-A51895EE52EE}"/>
                </a:ext>
              </a:extLst>
            </p:cNvPr>
            <p:cNvSpPr txBox="1"/>
            <p:nvPr/>
          </p:nvSpPr>
          <p:spPr>
            <a:xfrm>
              <a:off x="15312388" y="6158608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Oceanblå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#009BA2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79 16 37 2</a:t>
              </a:r>
            </a:p>
          </p:txBody>
        </p:sp>
        <p:sp>
          <p:nvSpPr>
            <p:cNvPr id="20" name="Rektangel 56">
              <a:extLst>
                <a:ext uri="{FF2B5EF4-FFF2-40B4-BE49-F238E27FC236}">
                  <a16:creationId xmlns:a16="http://schemas.microsoft.com/office/drawing/2014/main" id="{71BDDEB9-031C-41FA-98CF-C17A23783A95}"/>
                </a:ext>
              </a:extLst>
            </p:cNvPr>
            <p:cNvSpPr/>
            <p:nvPr/>
          </p:nvSpPr>
          <p:spPr>
            <a:xfrm>
              <a:off x="6198870" y="6661310"/>
              <a:ext cx="3413760" cy="492442"/>
            </a:xfrm>
            <a:prstGeom prst="rect">
              <a:avLst/>
            </a:prstGeom>
            <a:solidFill>
              <a:srgbClr val="045C6E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21" name="textruta 57">
              <a:extLst>
                <a:ext uri="{FF2B5EF4-FFF2-40B4-BE49-F238E27FC236}">
                  <a16:creationId xmlns:a16="http://schemas.microsoft.com/office/drawing/2014/main" id="{B903D7E9-8A00-4C82-9060-7A1B05CBCD46}"/>
                </a:ext>
              </a:extLst>
            </p:cNvPr>
            <p:cNvSpPr txBox="1"/>
            <p:nvPr/>
          </p:nvSpPr>
          <p:spPr>
            <a:xfrm>
              <a:off x="6724442" y="6109078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 err="1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Teal</a:t>
              </a:r>
              <a:endParaRPr lang="sv-SE" sz="1400" b="0">
                <a:solidFill>
                  <a:srgbClr val="FFFFFF"/>
                </a:solidFill>
                <a:latin typeface="+mn-lt"/>
                <a:cs typeface="Arial" panose="020B0604020202020204" pitchFamily="34" charset="0"/>
              </a:endParaRP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#045C6E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89 44 40 28</a:t>
              </a:r>
            </a:p>
          </p:txBody>
        </p:sp>
        <p:sp>
          <p:nvSpPr>
            <p:cNvPr id="22" name="Rektangel 58">
              <a:extLst>
                <a:ext uri="{FF2B5EF4-FFF2-40B4-BE49-F238E27FC236}">
                  <a16:creationId xmlns:a16="http://schemas.microsoft.com/office/drawing/2014/main" id="{E75F35EE-24EC-40BC-9B27-8F8F4EA6ABA2}"/>
                </a:ext>
              </a:extLst>
            </p:cNvPr>
            <p:cNvSpPr/>
            <p:nvPr/>
          </p:nvSpPr>
          <p:spPr>
            <a:xfrm>
              <a:off x="19023330" y="6661310"/>
              <a:ext cx="3417570" cy="492442"/>
            </a:xfrm>
            <a:prstGeom prst="rect">
              <a:avLst/>
            </a:prstGeom>
            <a:solidFill>
              <a:srgbClr val="AF4E55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23" name="textruta 59">
              <a:extLst>
                <a:ext uri="{FF2B5EF4-FFF2-40B4-BE49-F238E27FC236}">
                  <a16:creationId xmlns:a16="http://schemas.microsoft.com/office/drawing/2014/main" id="{B9DD04EB-1F43-4FE5-96FF-C425A1365198}"/>
                </a:ext>
              </a:extLst>
            </p:cNvPr>
            <p:cNvSpPr txBox="1"/>
            <p:nvPr/>
          </p:nvSpPr>
          <p:spPr>
            <a:xfrm>
              <a:off x="19554824" y="6109078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Roströd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#AF4E55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+mn-lt"/>
                  <a:cs typeface="Arial" panose="020B0604020202020204" pitchFamily="34" charset="0"/>
                </a:rPr>
                <a:t>24 77 54 15</a:t>
              </a:r>
            </a:p>
          </p:txBody>
        </p:sp>
        <p:sp>
          <p:nvSpPr>
            <p:cNvPr id="24" name="Rektangel 60">
              <a:extLst>
                <a:ext uri="{FF2B5EF4-FFF2-40B4-BE49-F238E27FC236}">
                  <a16:creationId xmlns:a16="http://schemas.microsoft.com/office/drawing/2014/main" id="{8BE8C53D-7EDC-43D3-8485-71E129706FA8}"/>
                </a:ext>
              </a:extLst>
            </p:cNvPr>
            <p:cNvSpPr/>
            <p:nvPr/>
          </p:nvSpPr>
          <p:spPr>
            <a:xfrm>
              <a:off x="1889760" y="10818019"/>
              <a:ext cx="3448050" cy="492442"/>
            </a:xfrm>
            <a:prstGeom prst="rect">
              <a:avLst/>
            </a:prstGeom>
            <a:solidFill>
              <a:srgbClr val="FDD1D1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25" name="textruta 61">
              <a:extLst>
                <a:ext uri="{FF2B5EF4-FFF2-40B4-BE49-F238E27FC236}">
                  <a16:creationId xmlns:a16="http://schemas.microsoft.com/office/drawing/2014/main" id="{D8305694-BE8E-4273-AFF3-B39947FA4946}"/>
                </a:ext>
              </a:extLst>
            </p:cNvPr>
            <p:cNvSpPr txBox="1"/>
            <p:nvPr/>
          </p:nvSpPr>
          <p:spPr>
            <a:xfrm>
              <a:off x="2421254" y="10315317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 err="1">
                  <a:latin typeface="+mn-lt"/>
                  <a:cs typeface="Arial" panose="020B0604020202020204" pitchFamily="34" charset="0"/>
                </a:rPr>
                <a:t>Persikorosa</a:t>
              </a:r>
              <a:endParaRPr lang="sv-SE" sz="1400" b="0">
                <a:latin typeface="+mn-lt"/>
                <a:cs typeface="Arial" panose="020B0604020202020204" pitchFamily="34" charset="0"/>
              </a:endParaRPr>
            </a:p>
            <a:p>
              <a:pPr defTabSz="457200" hangingPunct="1">
                <a:defRPr/>
              </a:pPr>
              <a:r>
                <a:rPr lang="sv-SE" sz="1400" b="0">
                  <a:latin typeface="+mn-lt"/>
                  <a:cs typeface="Arial" panose="020B0604020202020204" pitchFamily="34" charset="0"/>
                </a:rPr>
                <a:t>#FDD1D1</a:t>
              </a:r>
            </a:p>
            <a:p>
              <a:pPr defTabSz="457200" hangingPunct="1">
                <a:defRPr/>
              </a:pPr>
              <a:r>
                <a:rPr lang="sv-SE" sz="1400" b="0">
                  <a:latin typeface="+mn-lt"/>
                  <a:cs typeface="Arial" panose="020B0604020202020204" pitchFamily="34" charset="0"/>
                </a:rPr>
                <a:t>0 25 13 0</a:t>
              </a:r>
            </a:p>
          </p:txBody>
        </p:sp>
        <p:sp>
          <p:nvSpPr>
            <p:cNvPr id="26" name="Rektangel 62">
              <a:extLst>
                <a:ext uri="{FF2B5EF4-FFF2-40B4-BE49-F238E27FC236}">
                  <a16:creationId xmlns:a16="http://schemas.microsoft.com/office/drawing/2014/main" id="{7FE652DC-7BF0-46F4-9BC6-73A159F6A605}"/>
                </a:ext>
              </a:extLst>
            </p:cNvPr>
            <p:cNvSpPr/>
            <p:nvPr/>
          </p:nvSpPr>
          <p:spPr>
            <a:xfrm>
              <a:off x="6160770" y="10818019"/>
              <a:ext cx="3413760" cy="492442"/>
            </a:xfrm>
            <a:prstGeom prst="rect">
              <a:avLst/>
            </a:prstGeom>
            <a:solidFill>
              <a:srgbClr val="E3E3E3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27" name="textruta 63">
              <a:extLst>
                <a:ext uri="{FF2B5EF4-FFF2-40B4-BE49-F238E27FC236}">
                  <a16:creationId xmlns:a16="http://schemas.microsoft.com/office/drawing/2014/main" id="{F7460CB3-D44F-42E7-BF4F-04FF0D968AED}"/>
                </a:ext>
              </a:extLst>
            </p:cNvPr>
            <p:cNvSpPr txBox="1"/>
            <p:nvPr/>
          </p:nvSpPr>
          <p:spPr>
            <a:xfrm>
              <a:off x="6690360" y="10315317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 err="1">
                  <a:latin typeface="+mn-lt"/>
                  <a:cs typeface="Arial" panose="020B0604020202020204" pitchFamily="34" charset="0"/>
                </a:rPr>
                <a:t>Stengrå</a:t>
              </a:r>
              <a:endParaRPr lang="sv-SE" sz="1400" b="0">
                <a:latin typeface="+mn-lt"/>
                <a:cs typeface="Arial" panose="020B0604020202020204" pitchFamily="34" charset="0"/>
              </a:endParaRPr>
            </a:p>
            <a:p>
              <a:pPr defTabSz="457200" hangingPunct="1">
                <a:defRPr/>
              </a:pPr>
              <a:r>
                <a:rPr lang="sv-SE" sz="1400" b="0">
                  <a:latin typeface="+mn-lt"/>
                  <a:cs typeface="Arial" panose="020B0604020202020204" pitchFamily="34" charset="0"/>
                </a:rPr>
                <a:t>#E3E3E3</a:t>
              </a:r>
            </a:p>
            <a:p>
              <a:pPr defTabSz="457200" hangingPunct="1">
                <a:defRPr/>
              </a:pPr>
              <a:r>
                <a:rPr lang="sv-SE" sz="1400" b="0">
                  <a:latin typeface="+mn-lt"/>
                  <a:cs typeface="Arial" panose="020B0604020202020204" pitchFamily="34" charset="0"/>
                </a:rPr>
                <a:t>13 9 11 0</a:t>
              </a:r>
            </a:p>
          </p:txBody>
        </p:sp>
        <p:sp>
          <p:nvSpPr>
            <p:cNvPr id="28" name="Rektangel 64">
              <a:extLst>
                <a:ext uri="{FF2B5EF4-FFF2-40B4-BE49-F238E27FC236}">
                  <a16:creationId xmlns:a16="http://schemas.microsoft.com/office/drawing/2014/main" id="{7C1F743C-54AC-4A06-94C9-5FA94D04C4CD}"/>
                </a:ext>
              </a:extLst>
            </p:cNvPr>
            <p:cNvSpPr/>
            <p:nvPr/>
          </p:nvSpPr>
          <p:spPr>
            <a:xfrm>
              <a:off x="10462260" y="10787539"/>
              <a:ext cx="3390900" cy="492442"/>
            </a:xfrm>
            <a:prstGeom prst="rect">
              <a:avLst/>
            </a:prstGeom>
            <a:solidFill>
              <a:srgbClr val="EFE9DF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29" name="textruta 65">
              <a:extLst>
                <a:ext uri="{FF2B5EF4-FFF2-40B4-BE49-F238E27FC236}">
                  <a16:creationId xmlns:a16="http://schemas.microsoft.com/office/drawing/2014/main" id="{995BB69B-AE49-4A99-A705-1CAEA4FB3DF3}"/>
                </a:ext>
              </a:extLst>
            </p:cNvPr>
            <p:cNvSpPr txBox="1"/>
            <p:nvPr/>
          </p:nvSpPr>
          <p:spPr>
            <a:xfrm>
              <a:off x="10980420" y="10284837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 err="1">
                  <a:latin typeface="+mn-lt"/>
                  <a:cs typeface="Arial" panose="020B0604020202020204" pitchFamily="34" charset="0"/>
                </a:rPr>
                <a:t>Varmgrå</a:t>
              </a:r>
              <a:endParaRPr lang="sv-SE" sz="1400" b="0">
                <a:latin typeface="+mn-lt"/>
                <a:cs typeface="Arial" panose="020B0604020202020204" pitchFamily="34" charset="0"/>
              </a:endParaRPr>
            </a:p>
            <a:p>
              <a:pPr defTabSz="457200" hangingPunct="1">
                <a:defRPr/>
              </a:pPr>
              <a:r>
                <a:rPr lang="sv-SE" sz="1400" b="0">
                  <a:latin typeface="+mn-lt"/>
                  <a:cs typeface="Arial" panose="020B0604020202020204" pitchFamily="34" charset="0"/>
                </a:rPr>
                <a:t>#EFE9DF</a:t>
              </a:r>
            </a:p>
            <a:p>
              <a:pPr defTabSz="457200" hangingPunct="1">
                <a:defRPr/>
              </a:pPr>
              <a:r>
                <a:rPr lang="sv-SE" sz="1400" b="0">
                  <a:latin typeface="+mn-lt"/>
                  <a:cs typeface="Arial" panose="020B0604020202020204" pitchFamily="34" charset="0"/>
                </a:rPr>
                <a:t>7 8 14 0</a:t>
              </a:r>
            </a:p>
          </p:txBody>
        </p:sp>
        <p:sp>
          <p:nvSpPr>
            <p:cNvPr id="30" name="Rektangel 66">
              <a:extLst>
                <a:ext uri="{FF2B5EF4-FFF2-40B4-BE49-F238E27FC236}">
                  <a16:creationId xmlns:a16="http://schemas.microsoft.com/office/drawing/2014/main" id="{5D6F6FE9-8B11-47B1-BD79-3DB939104478}"/>
                </a:ext>
              </a:extLst>
            </p:cNvPr>
            <p:cNvSpPr/>
            <p:nvPr/>
          </p:nvSpPr>
          <p:spPr>
            <a:xfrm>
              <a:off x="19050000" y="10818019"/>
              <a:ext cx="3390900" cy="492442"/>
            </a:xfrm>
            <a:prstGeom prst="rect">
              <a:avLst/>
            </a:prstGeom>
            <a:noFill/>
            <a:ln w="12700" cap="flat">
              <a:solidFill>
                <a:srgbClr val="D5D5D5"/>
              </a:solidFill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31" name="textruta 67">
              <a:extLst>
                <a:ext uri="{FF2B5EF4-FFF2-40B4-BE49-F238E27FC236}">
                  <a16:creationId xmlns:a16="http://schemas.microsoft.com/office/drawing/2014/main" id="{64FEDD19-DD8F-4CC3-9A5F-1FAF289DFCE5}"/>
                </a:ext>
              </a:extLst>
            </p:cNvPr>
            <p:cNvSpPr txBox="1"/>
            <p:nvPr/>
          </p:nvSpPr>
          <p:spPr>
            <a:xfrm>
              <a:off x="19568160" y="10311111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>
                  <a:latin typeface="+mn-lt"/>
                  <a:cs typeface="Arial" panose="020B0604020202020204" pitchFamily="34" charset="0"/>
                </a:rPr>
                <a:t>Vit</a:t>
              </a:r>
            </a:p>
            <a:p>
              <a:pPr defTabSz="457200" hangingPunct="1">
                <a:defRPr/>
              </a:pPr>
              <a:r>
                <a:rPr lang="sv-SE" sz="1400" b="0">
                  <a:latin typeface="+mn-lt"/>
                  <a:cs typeface="Arial" panose="020B0604020202020204" pitchFamily="34" charset="0"/>
                </a:rPr>
                <a:t>#FFFFFF</a:t>
              </a:r>
            </a:p>
            <a:p>
              <a:pPr defTabSz="457200" hangingPunct="1">
                <a:defRPr/>
              </a:pPr>
              <a:r>
                <a:rPr lang="sv-SE" sz="1400" b="0">
                  <a:latin typeface="+mn-lt"/>
                  <a:cs typeface="Arial" panose="020B0604020202020204" pitchFamily="34" charset="0"/>
                </a:rPr>
                <a:t>0 0 0 0</a:t>
              </a:r>
            </a:p>
          </p:txBody>
        </p:sp>
        <p:sp>
          <p:nvSpPr>
            <p:cNvPr id="32" name="Rektangel 68">
              <a:extLst>
                <a:ext uri="{FF2B5EF4-FFF2-40B4-BE49-F238E27FC236}">
                  <a16:creationId xmlns:a16="http://schemas.microsoft.com/office/drawing/2014/main" id="{3C4C6C6D-D07C-4A18-8F58-1262DDA564AB}"/>
                </a:ext>
              </a:extLst>
            </p:cNvPr>
            <p:cNvSpPr/>
            <p:nvPr/>
          </p:nvSpPr>
          <p:spPr>
            <a:xfrm>
              <a:off x="14733270" y="10818019"/>
              <a:ext cx="3417570" cy="492442"/>
            </a:xfrm>
            <a:prstGeom prst="rect">
              <a:avLst/>
            </a:prstGeom>
            <a:solidFill>
              <a:srgbClr val="F7F5F1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Helvetica Neue Medium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33" name="textruta 69">
              <a:extLst>
                <a:ext uri="{FF2B5EF4-FFF2-40B4-BE49-F238E27FC236}">
                  <a16:creationId xmlns:a16="http://schemas.microsoft.com/office/drawing/2014/main" id="{BF8F2470-F0F3-4522-8588-EE5575AB1359}"/>
                </a:ext>
              </a:extLst>
            </p:cNvPr>
            <p:cNvSpPr txBox="1"/>
            <p:nvPr/>
          </p:nvSpPr>
          <p:spPr>
            <a:xfrm>
              <a:off x="15278100" y="10315317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>
                  <a:latin typeface="+mn-lt"/>
                  <a:cs typeface="Arial" panose="020B0604020202020204" pitchFamily="34" charset="0"/>
                </a:rPr>
                <a:t>Krämvit</a:t>
              </a:r>
            </a:p>
            <a:p>
              <a:pPr defTabSz="457200" hangingPunct="1">
                <a:defRPr/>
              </a:pPr>
              <a:r>
                <a:rPr lang="sv-SE" sz="1400" b="0">
                  <a:latin typeface="+mn-lt"/>
                  <a:cs typeface="Arial" panose="020B0604020202020204" pitchFamily="34" charset="0"/>
                </a:rPr>
                <a:t>#F7F5F1</a:t>
              </a:r>
            </a:p>
            <a:p>
              <a:pPr defTabSz="457200" hangingPunct="1">
                <a:defRPr/>
              </a:pPr>
              <a:r>
                <a:rPr lang="sv-SE" sz="1400" b="0">
                  <a:latin typeface="+mn-lt"/>
                  <a:cs typeface="Arial" panose="020B0604020202020204" pitchFamily="34" charset="0"/>
                </a:rPr>
                <a:t>4 4 6 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967134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293DFB-E971-458B-94EA-994ABB6FD7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7"/>
            <a:ext cx="384644" cy="281665"/>
          </a:xfrm>
        </p:spPr>
        <p:txBody>
          <a:bodyPr/>
          <a:lstStyle/>
          <a:p>
            <a:fld id="{86CB4B4D-7CA3-9044-876B-883B54F8677D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65517331"/>
      </p:ext>
    </p:extLst>
  </p:cSld>
  <p:clrMapOvr>
    <a:masterClrMapping/>
  </p:clrMapOvr>
  <p:transition spd="med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EBC034D-9F92-1141-BD45-C6A44E0ECD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6892" y="811402"/>
            <a:ext cx="8078525" cy="1143000"/>
          </a:xfrm>
        </p:spPr>
        <p:txBody>
          <a:bodyPr anchor="b">
            <a:normAutofit/>
          </a:bodyPr>
          <a:lstStyle>
            <a:lvl1pPr algn="l">
              <a:defRPr sz="4000"/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C6CC0D0D-D3D6-1E4D-9638-E406544942D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76891" y="2035277"/>
            <a:ext cx="10470559" cy="4187723"/>
          </a:xfrm>
        </p:spPr>
        <p:txBody>
          <a:bodyPr anchor="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76593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Innehållsmall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Image"/>
          <p:cNvSpPr>
            <a:spLocks noGrp="1"/>
          </p:cNvSpPr>
          <p:nvPr>
            <p:ph type="pic" sz="half" idx="13"/>
          </p:nvPr>
        </p:nvSpPr>
        <p:spPr>
          <a:xfrm>
            <a:off x="0" y="0"/>
            <a:ext cx="5338148" cy="6858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39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6238356" y="874902"/>
            <a:ext cx="5111750" cy="1159292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lang="sv-SE" sz="4000" dirty="0"/>
            </a:lvl1pPr>
          </a:lstStyle>
          <a:p>
            <a:r>
              <a:rPr lang="sv-SE">
                <a:latin typeface="+mj-lt"/>
              </a:rPr>
              <a:t>En lite längre rubrik på två rader</a:t>
            </a:r>
          </a:p>
        </p:txBody>
      </p:sp>
      <p:sp>
        <p:nvSpPr>
          <p:cNvPr id="40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6270539" y="2610132"/>
            <a:ext cx="5044285" cy="2586157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 defTabSz="228600">
              <a:lnSpc>
                <a:spcPct val="130000"/>
              </a:lnSpc>
              <a:spcBef>
                <a:spcPts val="0"/>
              </a:spcBef>
              <a:buSzTx/>
              <a:buNone/>
              <a:defRPr lang="sv-SE"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lvl1pPr>
            <a:lvl2pPr marL="0" indent="0" algn="l">
              <a:spcBef>
                <a:spcPts val="0"/>
              </a:spcBef>
              <a:buSzTx/>
              <a:buNone/>
              <a:defRPr sz="1550"/>
            </a:lvl2pPr>
            <a:lvl3pPr marL="0" indent="0" algn="l">
              <a:spcBef>
                <a:spcPts val="0"/>
              </a:spcBef>
              <a:buSzTx/>
              <a:buNone/>
              <a:defRPr sz="1550"/>
            </a:lvl3pPr>
            <a:lvl4pPr marL="0" indent="0" algn="l">
              <a:spcBef>
                <a:spcPts val="0"/>
              </a:spcBef>
              <a:buSzTx/>
              <a:buNone/>
              <a:defRPr sz="1550"/>
            </a:lvl4pPr>
            <a:lvl5pPr marL="0" indent="0" algn="l">
              <a:spcBef>
                <a:spcPts val="0"/>
              </a:spcBef>
              <a:buSzTx/>
              <a:buNone/>
              <a:defRPr sz="1550"/>
            </a:lvl5pPr>
          </a:lstStyle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400" err="1">
                <a:latin typeface="+mn-lt"/>
              </a:rPr>
              <a:t>Lore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ips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dolo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sit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met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nsectetu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dipiscing</a:t>
            </a:r>
            <a:r>
              <a:rPr lang="sv-SE" sz="1400">
                <a:latin typeface="+mn-lt"/>
              </a:rPr>
              <a:t> elit. </a:t>
            </a:r>
            <a:r>
              <a:rPr lang="sv-SE" sz="1400" err="1">
                <a:latin typeface="+mn-lt"/>
              </a:rPr>
              <a:t>Phasellus</a:t>
            </a:r>
            <a:r>
              <a:rPr lang="sv-SE" sz="1400">
                <a:latin typeface="+mn-lt"/>
              </a:rPr>
              <a:t> gravida </a:t>
            </a:r>
            <a:r>
              <a:rPr lang="sv-SE" sz="1400" err="1">
                <a:latin typeface="+mn-lt"/>
              </a:rPr>
              <a:t>justo</a:t>
            </a:r>
            <a:r>
              <a:rPr lang="sv-SE" sz="1400">
                <a:latin typeface="+mn-lt"/>
              </a:rPr>
              <a:t> eget </a:t>
            </a:r>
            <a:r>
              <a:rPr lang="sv-SE" sz="1400" err="1">
                <a:latin typeface="+mn-lt"/>
              </a:rPr>
              <a:t>nislo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ulla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rper</a:t>
            </a:r>
            <a:r>
              <a:rPr lang="sv-SE" sz="1400">
                <a:latin typeface="+mn-lt"/>
              </a:rPr>
              <a:t> id </a:t>
            </a:r>
            <a:r>
              <a:rPr lang="sv-SE" sz="1400" err="1">
                <a:latin typeface="+mn-lt"/>
              </a:rPr>
              <a:t>ornare</a:t>
            </a:r>
            <a:r>
              <a:rPr lang="sv-SE" sz="1400">
                <a:latin typeface="+mn-lt"/>
              </a:rPr>
              <a:t> mi </a:t>
            </a:r>
            <a:r>
              <a:rPr lang="sv-SE" sz="1400" err="1">
                <a:latin typeface="+mn-lt"/>
              </a:rPr>
              <a:t>imperdiet</a:t>
            </a:r>
            <a:r>
              <a:rPr lang="sv-SE" sz="1400">
                <a:latin typeface="+mn-lt"/>
              </a:rPr>
              <a:t>. In </a:t>
            </a:r>
            <a:r>
              <a:rPr lang="sv-SE" sz="1400" err="1">
                <a:latin typeface="+mn-lt"/>
              </a:rPr>
              <a:t>plaacerat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dia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ferment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ucto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ips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vehicula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lacinia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metuso</a:t>
            </a:r>
            <a:r>
              <a:rPr lang="sv-SE" sz="1400">
                <a:latin typeface="+mn-lt"/>
              </a:rPr>
              <a:t> de </a:t>
            </a:r>
            <a:r>
              <a:rPr lang="sv-SE" sz="1400" err="1">
                <a:latin typeface="+mn-lt"/>
              </a:rPr>
              <a:t>vecchio</a:t>
            </a:r>
            <a:r>
              <a:rPr lang="sv-SE" sz="1400">
                <a:latin typeface="+mn-lt"/>
              </a:rPr>
              <a:t>.</a:t>
            </a:r>
          </a:p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endParaRPr lang="sv-SE" sz="1400">
              <a:latin typeface="+mn-lt"/>
            </a:endParaRPr>
          </a:p>
          <a:p>
            <a:pPr algn="l" defTabSz="457200">
              <a:lnSpc>
                <a:spcPct val="130000"/>
              </a:lnSpc>
              <a:defRPr sz="2800" b="0">
                <a:latin typeface="Euclid Circular B SemiBold"/>
                <a:ea typeface="Euclid Circular B SemiBold"/>
                <a:cs typeface="Euclid Circular B SemiBold"/>
                <a:sym typeface="Euclid Circular B SemiBold"/>
              </a:defRPr>
            </a:pPr>
            <a:r>
              <a:rPr lang="sv-SE" sz="1400">
                <a:latin typeface="+mn-lt"/>
                <a:ea typeface="Euclid Circular A SemiBold" panose="020B0704000000000000" pitchFamily="34" charset="0"/>
              </a:rPr>
              <a:t>En underrubrik i texten</a:t>
            </a:r>
          </a:p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400">
                <a:latin typeface="+mn-lt"/>
              </a:rPr>
              <a:t>Mauris non </a:t>
            </a:r>
            <a:r>
              <a:rPr lang="sv-SE" sz="1400" err="1">
                <a:latin typeface="+mn-lt"/>
              </a:rPr>
              <a:t>dolor</a:t>
            </a:r>
            <a:r>
              <a:rPr lang="sv-SE" sz="1400">
                <a:latin typeface="+mn-lt"/>
              </a:rPr>
              <a:t> non </a:t>
            </a:r>
            <a:r>
              <a:rPr lang="sv-SE" sz="1400" err="1">
                <a:latin typeface="+mn-lt"/>
              </a:rPr>
              <a:t>metus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preti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ngue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phasellus</a:t>
            </a:r>
            <a:r>
              <a:rPr lang="sv-SE" sz="1400">
                <a:latin typeface="+mn-lt"/>
              </a:rPr>
              <a:t> gravida </a:t>
            </a:r>
            <a:r>
              <a:rPr lang="sv-SE" sz="1400" err="1">
                <a:latin typeface="+mn-lt"/>
              </a:rPr>
              <a:t>justo</a:t>
            </a:r>
            <a:r>
              <a:rPr lang="sv-SE" sz="1400">
                <a:latin typeface="+mn-lt"/>
              </a:rPr>
              <a:t> eget </a:t>
            </a:r>
            <a:r>
              <a:rPr lang="sv-SE" sz="1400" err="1">
                <a:latin typeface="+mn-lt"/>
              </a:rPr>
              <a:t>nislo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ulla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rper</a:t>
            </a:r>
            <a:r>
              <a:rPr lang="sv-SE" sz="1400">
                <a:latin typeface="+mn-lt"/>
              </a:rPr>
              <a:t>.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537DC52-011A-466F-9223-B1D0D0972E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419700" y="6465328"/>
            <a:ext cx="384644" cy="281665"/>
          </a:xfrm>
        </p:spPr>
        <p:txBody>
          <a:bodyPr/>
          <a:lstStyle>
            <a:lvl1pPr>
              <a:defRPr lang="sv-SE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F8114D91-4524-0541-9CCE-86E92887A391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73580928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ehållsmall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Image"/>
          <p:cNvSpPr>
            <a:spLocks noGrp="1"/>
          </p:cNvSpPr>
          <p:nvPr>
            <p:ph type="pic" sz="half" idx="13"/>
          </p:nvPr>
        </p:nvSpPr>
        <p:spPr>
          <a:xfrm>
            <a:off x="0" y="0"/>
            <a:ext cx="5338148" cy="6858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39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6238356" y="874902"/>
            <a:ext cx="5111750" cy="1159292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000"/>
            </a:lvl1pPr>
          </a:lstStyle>
          <a:p>
            <a:r>
              <a:rPr lang="sv-SE"/>
              <a:t>En längre rubrik med </a:t>
            </a:r>
            <a:r>
              <a:rPr lang="sv-SE" err="1"/>
              <a:t>bullet</a:t>
            </a:r>
            <a:r>
              <a:rPr lang="sv-SE"/>
              <a:t> </a:t>
            </a:r>
            <a:r>
              <a:rPr lang="sv-SE" err="1"/>
              <a:t>points</a:t>
            </a:r>
            <a:endParaRPr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12F7830-9892-472D-9338-AE9888EE651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38356" y="2374503"/>
            <a:ext cx="5044285" cy="2831678"/>
          </a:xfrm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 sz="2200"/>
            </a:lvl2pPr>
            <a:lvl3pPr>
              <a:buClr>
                <a:schemeClr val="tx2"/>
              </a:buClr>
              <a:defRPr sz="2000"/>
            </a:lvl3pPr>
            <a:lvl4pPr>
              <a:buClr>
                <a:schemeClr val="tx2"/>
              </a:buClr>
              <a:defRPr sz="1800"/>
            </a:lvl4pPr>
            <a:lvl5pPr>
              <a:buClr>
                <a:schemeClr val="tx2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8224A059-758B-4A61-88D9-C0CF29C0BE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419700" y="6465328"/>
            <a:ext cx="384644" cy="28166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8114D91-4524-0541-9CCE-86E92887A391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83435612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Innehållsmall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Image"/>
          <p:cNvSpPr>
            <a:spLocks noGrp="1"/>
          </p:cNvSpPr>
          <p:nvPr>
            <p:ph type="pic" sz="half" idx="13"/>
          </p:nvPr>
        </p:nvSpPr>
        <p:spPr>
          <a:xfrm>
            <a:off x="6862296" y="-4910"/>
            <a:ext cx="5338148" cy="6858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39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874114" y="1441160"/>
            <a:ext cx="5221886" cy="593034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lang="sv-SE" sz="4000" dirty="0"/>
            </a:lvl1pPr>
          </a:lstStyle>
          <a:p>
            <a:r>
              <a:rPr lang="sv-SE">
                <a:latin typeface="+mj-lt"/>
              </a:rPr>
              <a:t>En kort rubrik</a:t>
            </a:r>
          </a:p>
        </p:txBody>
      </p:sp>
      <p:sp>
        <p:nvSpPr>
          <p:cNvPr id="40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874114" y="2456009"/>
            <a:ext cx="5186603" cy="1945982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 defTabSz="228600">
              <a:lnSpc>
                <a:spcPct val="130000"/>
              </a:lnSpc>
              <a:spcBef>
                <a:spcPts val="0"/>
              </a:spcBef>
              <a:buSzTx/>
              <a:buNone/>
              <a:defRPr lang="sv-SE"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lvl1pPr>
            <a:lvl2pPr marL="0" indent="0" algn="l">
              <a:spcBef>
                <a:spcPts val="0"/>
              </a:spcBef>
              <a:buSzTx/>
              <a:buNone/>
              <a:defRPr sz="1550"/>
            </a:lvl2pPr>
            <a:lvl3pPr marL="0" indent="0" algn="l">
              <a:spcBef>
                <a:spcPts val="0"/>
              </a:spcBef>
              <a:buSzTx/>
              <a:buNone/>
              <a:defRPr sz="1550"/>
            </a:lvl3pPr>
            <a:lvl4pPr marL="0" indent="0" algn="l">
              <a:spcBef>
                <a:spcPts val="0"/>
              </a:spcBef>
              <a:buSzTx/>
              <a:buNone/>
              <a:defRPr sz="1550"/>
            </a:lvl4pPr>
            <a:lvl5pPr marL="0" indent="0" algn="l">
              <a:spcBef>
                <a:spcPts val="0"/>
              </a:spcBef>
              <a:buSzTx/>
              <a:buNone/>
              <a:defRPr sz="1550"/>
            </a:lvl5pPr>
          </a:lstStyle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400" err="1">
                <a:latin typeface="+mn-lt"/>
              </a:rPr>
              <a:t>Lore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ips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dolo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sit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met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nsectetu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dipiscing</a:t>
            </a:r>
            <a:r>
              <a:rPr lang="sv-SE" sz="1400">
                <a:latin typeface="+mn-lt"/>
              </a:rPr>
              <a:t> elit. </a:t>
            </a:r>
            <a:r>
              <a:rPr lang="sv-SE" sz="1400" err="1">
                <a:latin typeface="+mn-lt"/>
              </a:rPr>
              <a:t>Phasellus</a:t>
            </a:r>
            <a:r>
              <a:rPr lang="sv-SE" sz="1400">
                <a:latin typeface="+mn-lt"/>
              </a:rPr>
              <a:t> gravida </a:t>
            </a:r>
            <a:r>
              <a:rPr lang="sv-SE" sz="1400" err="1">
                <a:latin typeface="+mn-lt"/>
              </a:rPr>
              <a:t>justo</a:t>
            </a:r>
            <a:r>
              <a:rPr lang="sv-SE" sz="1400">
                <a:latin typeface="+mn-lt"/>
              </a:rPr>
              <a:t> eget </a:t>
            </a:r>
            <a:r>
              <a:rPr lang="sv-SE" sz="1400" err="1">
                <a:latin typeface="+mn-lt"/>
              </a:rPr>
              <a:t>nislo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ulla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rper</a:t>
            </a:r>
            <a:r>
              <a:rPr lang="sv-SE" sz="1400">
                <a:latin typeface="+mn-lt"/>
              </a:rPr>
              <a:t> id </a:t>
            </a:r>
            <a:r>
              <a:rPr lang="sv-SE" sz="1400" err="1">
                <a:latin typeface="+mn-lt"/>
              </a:rPr>
              <a:t>ornare</a:t>
            </a:r>
            <a:r>
              <a:rPr lang="sv-SE" sz="1400">
                <a:latin typeface="+mn-lt"/>
              </a:rPr>
              <a:t> mi </a:t>
            </a:r>
            <a:r>
              <a:rPr lang="sv-SE" sz="1400" err="1">
                <a:latin typeface="+mn-lt"/>
              </a:rPr>
              <a:t>imperdiet</a:t>
            </a:r>
            <a:r>
              <a:rPr lang="sv-SE" sz="1400">
                <a:latin typeface="+mn-lt"/>
              </a:rPr>
              <a:t>. In placerat </a:t>
            </a:r>
            <a:r>
              <a:rPr lang="sv-SE" sz="1400" err="1">
                <a:latin typeface="+mn-lt"/>
              </a:rPr>
              <a:t>dia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ferment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ucto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ips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vehicula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lacinia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metuso</a:t>
            </a:r>
            <a:r>
              <a:rPr lang="sv-SE" sz="1400">
                <a:latin typeface="+mn-lt"/>
              </a:rPr>
              <a:t> de </a:t>
            </a:r>
            <a:r>
              <a:rPr lang="sv-SE" sz="1400" err="1">
                <a:latin typeface="+mn-lt"/>
              </a:rPr>
              <a:t>vecchio</a:t>
            </a:r>
            <a:r>
              <a:rPr lang="sv-SE" sz="1400">
                <a:latin typeface="+mn-lt"/>
              </a:rPr>
              <a:t>.</a:t>
            </a:r>
          </a:p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endParaRPr lang="sv-SE" sz="1400">
              <a:latin typeface="+mn-lt"/>
            </a:endParaRPr>
          </a:p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400">
                <a:latin typeface="+mn-lt"/>
              </a:rPr>
              <a:t>Mauris non </a:t>
            </a:r>
            <a:r>
              <a:rPr lang="sv-SE" sz="1400" err="1">
                <a:latin typeface="+mn-lt"/>
              </a:rPr>
              <a:t>dolor</a:t>
            </a:r>
            <a:r>
              <a:rPr lang="sv-SE" sz="1400">
                <a:latin typeface="+mn-lt"/>
              </a:rPr>
              <a:t> non </a:t>
            </a:r>
            <a:r>
              <a:rPr lang="sv-SE" sz="1400" err="1">
                <a:latin typeface="+mn-lt"/>
              </a:rPr>
              <a:t>metus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preti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ngue</a:t>
            </a:r>
            <a:r>
              <a:rPr lang="sv-SE" sz="1400">
                <a:latin typeface="+mn-lt"/>
              </a:rPr>
              <a:t>. 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B886941-ECD3-4FCA-B2A4-20405B79B6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7"/>
            <a:ext cx="384644" cy="28166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8114D91-4524-0541-9CCE-86E92887A391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22607495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image" Target="../media/image3.emf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17.xml"/><Relationship Id="rId16" Type="http://schemas.openxmlformats.org/officeDocument/2006/relationships/tags" Target="../tags/tag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0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32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image" Target="../media/image5.emf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oleObject" Target="../embeddings/oleObject6.bin"/><Relationship Id="rId2" Type="http://schemas.openxmlformats.org/officeDocument/2006/relationships/slideLayout" Target="../slideLayouts/slideLayout34.xml"/><Relationship Id="rId16" Type="http://schemas.openxmlformats.org/officeDocument/2006/relationships/tags" Target="../tags/tag8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slideLayout" Target="../slideLayouts/slideLayout59.xml"/><Relationship Id="rId18" Type="http://schemas.openxmlformats.org/officeDocument/2006/relationships/theme" Target="../theme/theme7.xml"/><Relationship Id="rId3" Type="http://schemas.openxmlformats.org/officeDocument/2006/relationships/slideLayout" Target="../slideLayouts/slideLayout49.xml"/><Relationship Id="rId21" Type="http://schemas.openxmlformats.org/officeDocument/2006/relationships/oleObject" Target="../embeddings/oleObject7.bin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17" Type="http://schemas.openxmlformats.org/officeDocument/2006/relationships/slideLayout" Target="../slideLayouts/slideLayout63.xml"/><Relationship Id="rId2" Type="http://schemas.openxmlformats.org/officeDocument/2006/relationships/slideLayout" Target="../slideLayouts/slideLayout48.xml"/><Relationship Id="rId16" Type="http://schemas.openxmlformats.org/officeDocument/2006/relationships/slideLayout" Target="../slideLayouts/slideLayout62.xml"/><Relationship Id="rId20" Type="http://schemas.openxmlformats.org/officeDocument/2006/relationships/tags" Target="../tags/tag10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5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56.xml"/><Relationship Id="rId19" Type="http://schemas.openxmlformats.org/officeDocument/2006/relationships/tags" Target="../tags/tag9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Relationship Id="rId22" Type="http://schemas.openxmlformats.org/officeDocument/2006/relationships/image" Target="../media/image5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Text"/>
          <p:cNvSpPr txBox="1">
            <a:spLocks noGrp="1"/>
          </p:cNvSpPr>
          <p:nvPr>
            <p:ph type="title"/>
          </p:nvPr>
        </p:nvSpPr>
        <p:spPr>
          <a:xfrm>
            <a:off x="883626" y="177800"/>
            <a:ext cx="10502900" cy="1143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 anchor="b">
            <a:normAutofit/>
          </a:bodyPr>
          <a:lstStyle/>
          <a:p>
            <a:r>
              <a:t>Title Text</a:t>
            </a:r>
          </a:p>
        </p:txBody>
      </p:sp>
      <p:sp>
        <p:nvSpPr>
          <p:cNvPr id="3" name="Body Level One…"/>
          <p:cNvSpPr txBox="1">
            <a:spLocks noGrp="1"/>
          </p:cNvSpPr>
          <p:nvPr>
            <p:ph type="body" idx="1"/>
          </p:nvPr>
        </p:nvSpPr>
        <p:spPr>
          <a:xfrm>
            <a:off x="883626" y="1498548"/>
            <a:ext cx="10502900" cy="46482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 anchor="t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DA3B7E24-CEF8-46A1-BA05-80CADD48C8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75" y="6465327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fld id="{F8114D91-4524-0541-9CCE-86E92887A391}" type="slidenum">
              <a:rPr lang="sv-SE" smtClean="0"/>
              <a:pPr/>
              <a:t>‹#›</a:t>
            </a:fld>
            <a:endParaRPr lang="sv-SE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19EEF24-EC8F-45F0-A193-775C70EEDE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487804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216" imgH="216" progId="TCLayout.ActiveDocument.1">
                  <p:embed/>
                </p:oleObj>
              </mc:Choice>
              <mc:Fallback>
                <p:oleObj name="think-cell Slide" r:id="rId19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19EEF24-EC8F-45F0-A193-775C70EEDE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75B5C5AB-5EDF-4E93-88E0-410400789EF6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36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85975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2" r:id="rId1"/>
    <p:sldLayoutId id="2147484073" r:id="rId2"/>
    <p:sldLayoutId id="2147484074" r:id="rId3"/>
    <p:sldLayoutId id="2147484075" r:id="rId4"/>
    <p:sldLayoutId id="2147484076" r:id="rId5"/>
    <p:sldLayoutId id="2147484077" r:id="rId6"/>
    <p:sldLayoutId id="2147484078" r:id="rId7"/>
    <p:sldLayoutId id="2147484079" r:id="rId8"/>
    <p:sldLayoutId id="2147484080" r:id="rId9"/>
    <p:sldLayoutId id="2147484081" r:id="rId10"/>
    <p:sldLayoutId id="2147484082" r:id="rId11"/>
    <p:sldLayoutId id="2147484083" r:id="rId12"/>
    <p:sldLayoutId id="2147484084" r:id="rId13"/>
    <p:sldLayoutId id="2147484085" r:id="rId14"/>
    <p:sldLayoutId id="2147484086" r:id="rId15"/>
  </p:sldLayoutIdLst>
  <p:transition spd="med"/>
  <p:hf hdr="0" ftr="0" dt="0"/>
  <p:txStyles>
    <p:titleStyle>
      <a:lvl1pPr marL="0" marR="0" indent="0" algn="l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+mn-ea"/>
          <a:cs typeface="+mn-cs"/>
          <a:sym typeface="Helvetica Neue Medium"/>
        </a:defRPr>
      </a:lvl1pPr>
      <a:lvl2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2pPr>
      <a:lvl3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3pPr>
      <a:lvl4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4pPr>
      <a:lvl5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5pPr>
      <a:lvl6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6pPr>
      <a:lvl7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7pPr>
      <a:lvl8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8pPr>
      <a:lvl9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9pPr>
    </p:titleStyle>
    <p:bodyStyle>
      <a:lvl1pPr marL="3175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1pPr>
      <a:lvl2pPr marL="6350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22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2pPr>
      <a:lvl3pPr marL="9525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3pPr>
      <a:lvl4pPr marL="12700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4pPr>
      <a:lvl5pPr marL="15875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5pPr>
      <a:lvl6pPr marL="19050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6pPr>
      <a:lvl7pPr marL="22225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7pPr>
      <a:lvl8pPr marL="25400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8pPr>
      <a:lvl9pPr marL="28575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9pPr>
    </p:bodyStyle>
    <p:otherStyle>
      <a:lvl1pPr marL="0" marR="0" indent="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1143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2286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3429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4572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5715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6858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8001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9144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4B173A-0DAF-4864-BC7F-B3A157D8FE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00059915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592" imgH="595" progId="TCLayout.ActiveDocument.1">
                  <p:embed/>
                </p:oleObj>
              </mc:Choice>
              <mc:Fallback>
                <p:oleObj name="think-cell Slide" r:id="rId17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4B173A-0DAF-4864-BC7F-B3A157D8FE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Text"/>
          <p:cNvSpPr txBox="1">
            <a:spLocks noGrp="1"/>
          </p:cNvSpPr>
          <p:nvPr>
            <p:ph type="title"/>
          </p:nvPr>
        </p:nvSpPr>
        <p:spPr>
          <a:xfrm>
            <a:off x="844550" y="177800"/>
            <a:ext cx="10502900" cy="1143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 anchor="b">
            <a:normAutofit/>
          </a:bodyPr>
          <a:lstStyle/>
          <a:p>
            <a:r>
              <a:t>Title Text</a:t>
            </a:r>
          </a:p>
        </p:txBody>
      </p:sp>
      <p:sp>
        <p:nvSpPr>
          <p:cNvPr id="3" name="Body Level One…"/>
          <p:cNvSpPr txBox="1">
            <a:spLocks noGrp="1"/>
          </p:cNvSpPr>
          <p:nvPr>
            <p:ph type="body" idx="1"/>
          </p:nvPr>
        </p:nvSpPr>
        <p:spPr>
          <a:xfrm>
            <a:off x="844550" y="1574800"/>
            <a:ext cx="10502900" cy="46482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 anchor="t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BA6DA951-1F7D-4029-BD30-7EE209F425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4723" y="6398237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fld id="{86CB4B4D-7CA3-9044-876B-883B54F8677D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2695407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106" r:id="rId1"/>
    <p:sldLayoutId id="2147484107" r:id="rId2"/>
    <p:sldLayoutId id="2147484108" r:id="rId3"/>
    <p:sldLayoutId id="2147484109" r:id="rId4"/>
    <p:sldLayoutId id="2147484110" r:id="rId5"/>
    <p:sldLayoutId id="2147484111" r:id="rId6"/>
    <p:sldLayoutId id="2147484112" r:id="rId7"/>
    <p:sldLayoutId id="2147484113" r:id="rId8"/>
    <p:sldLayoutId id="2147484114" r:id="rId9"/>
    <p:sldLayoutId id="2147484115" r:id="rId10"/>
    <p:sldLayoutId id="2147484116" r:id="rId11"/>
    <p:sldLayoutId id="2147484117" r:id="rId12"/>
    <p:sldLayoutId id="2147484118" r:id="rId13"/>
    <p:sldLayoutId id="2147484119" r:id="rId14"/>
  </p:sldLayoutIdLst>
  <p:transition spd="med"/>
  <p:hf hdr="0" ftr="0" dt="0"/>
  <p:txStyles>
    <p:titleStyle>
      <a:lvl1pPr marL="0" marR="0" indent="0" algn="l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+mn-ea"/>
          <a:cs typeface="+mn-cs"/>
          <a:sym typeface="Helvetica Neue Medium"/>
        </a:defRPr>
      </a:lvl1pPr>
      <a:lvl2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2pPr>
      <a:lvl3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3pPr>
      <a:lvl4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4pPr>
      <a:lvl5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5pPr>
      <a:lvl6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6pPr>
      <a:lvl7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7pPr>
      <a:lvl8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8pPr>
      <a:lvl9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9pPr>
    </p:titleStyle>
    <p:bodyStyle>
      <a:lvl1pPr marL="3175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1pPr>
      <a:lvl2pPr marL="6350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22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2pPr>
      <a:lvl3pPr marL="9525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3pPr>
      <a:lvl4pPr marL="12700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4pPr>
      <a:lvl5pPr marL="15875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5pPr>
      <a:lvl6pPr marL="19050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6pPr>
      <a:lvl7pPr marL="22225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7pPr>
      <a:lvl8pPr marL="25400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8pPr>
      <a:lvl9pPr marL="28575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9pPr>
    </p:bodyStyle>
    <p:otherStyle>
      <a:lvl1pPr marL="0" marR="0" indent="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1143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2286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3429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4572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5715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6858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8001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9144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Text"/>
          <p:cNvSpPr txBox="1">
            <a:spLocks noGrp="1"/>
          </p:cNvSpPr>
          <p:nvPr>
            <p:ph type="title"/>
          </p:nvPr>
        </p:nvSpPr>
        <p:spPr>
          <a:xfrm>
            <a:off x="883626" y="177800"/>
            <a:ext cx="10502900" cy="1143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 anchor="b">
            <a:normAutofit/>
          </a:bodyPr>
          <a:lstStyle/>
          <a:p>
            <a:r>
              <a:t>Title Text</a:t>
            </a:r>
          </a:p>
        </p:txBody>
      </p:sp>
      <p:sp>
        <p:nvSpPr>
          <p:cNvPr id="3" name="Body Level One…"/>
          <p:cNvSpPr txBox="1">
            <a:spLocks noGrp="1"/>
          </p:cNvSpPr>
          <p:nvPr>
            <p:ph type="body" idx="1"/>
          </p:nvPr>
        </p:nvSpPr>
        <p:spPr>
          <a:xfrm>
            <a:off x="883626" y="1498548"/>
            <a:ext cx="10502900" cy="46482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 anchor="t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DA3B7E24-CEF8-46A1-BA05-80CADD48C8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4723" y="6398237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fld id="{86CB4B4D-7CA3-9044-876B-883B54F8677D}" type="slidenum">
              <a:rPr lang="sv-SE" smtClean="0"/>
              <a:pPr/>
              <a:t>‹#›</a:t>
            </a:fld>
            <a:endParaRPr lang="sv-SE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F84BB5B-3821-45D0-9D69-902C39020B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19916827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F84BB5B-3821-45D0-9D69-902C39020B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228460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4" r:id="rId1"/>
  </p:sldLayoutIdLst>
  <p:transition spd="med"/>
  <p:hf hdr="0" ftr="0" dt="0"/>
  <p:txStyles>
    <p:titleStyle>
      <a:lvl1pPr marL="0" marR="0" indent="0" algn="l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+mn-ea"/>
          <a:cs typeface="+mn-cs"/>
          <a:sym typeface="Helvetica Neue Medium"/>
        </a:defRPr>
      </a:lvl1pPr>
      <a:lvl2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2pPr>
      <a:lvl3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3pPr>
      <a:lvl4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4pPr>
      <a:lvl5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5pPr>
      <a:lvl6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6pPr>
      <a:lvl7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7pPr>
      <a:lvl8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8pPr>
      <a:lvl9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9pPr>
    </p:titleStyle>
    <p:bodyStyle>
      <a:lvl1pPr marL="3175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1pPr>
      <a:lvl2pPr marL="6350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22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2pPr>
      <a:lvl3pPr marL="9525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3pPr>
      <a:lvl4pPr marL="12700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4pPr>
      <a:lvl5pPr marL="15875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5pPr>
      <a:lvl6pPr marL="19050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6pPr>
      <a:lvl7pPr marL="22225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7pPr>
      <a:lvl8pPr marL="25400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8pPr>
      <a:lvl9pPr marL="28575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9pPr>
    </p:bodyStyle>
    <p:otherStyle>
      <a:lvl1pPr marL="0" marR="0" indent="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1143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2286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3429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4572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5715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6858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8001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9144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44B173A-0DAF-4864-BC7F-B3A157D8FE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1394994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44B173A-0DAF-4864-BC7F-B3A157D8FE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Text"/>
          <p:cNvSpPr txBox="1">
            <a:spLocks noGrp="1"/>
          </p:cNvSpPr>
          <p:nvPr>
            <p:ph type="title"/>
          </p:nvPr>
        </p:nvSpPr>
        <p:spPr>
          <a:xfrm>
            <a:off x="844550" y="177800"/>
            <a:ext cx="10502900" cy="1143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 anchor="b">
            <a:normAutofit/>
          </a:bodyPr>
          <a:lstStyle/>
          <a:p>
            <a:r>
              <a:t>Title Text</a:t>
            </a:r>
          </a:p>
        </p:txBody>
      </p:sp>
      <p:sp>
        <p:nvSpPr>
          <p:cNvPr id="3" name="Body Level One…"/>
          <p:cNvSpPr txBox="1">
            <a:spLocks noGrp="1"/>
          </p:cNvSpPr>
          <p:nvPr>
            <p:ph type="body" idx="1"/>
          </p:nvPr>
        </p:nvSpPr>
        <p:spPr>
          <a:xfrm>
            <a:off x="844550" y="1574800"/>
            <a:ext cx="10502900" cy="46482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 anchor="t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BA6DA951-1F7D-4029-BD30-7EE209F425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4723" y="6398237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fld id="{86CB4B4D-7CA3-9044-876B-883B54F8677D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4809745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142" r:id="rId1"/>
  </p:sldLayoutIdLst>
  <p:transition spd="med"/>
  <p:hf hdr="0" ftr="0" dt="0"/>
  <p:txStyles>
    <p:titleStyle>
      <a:lvl1pPr marL="0" marR="0" indent="0" algn="l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+mn-ea"/>
          <a:cs typeface="+mn-cs"/>
          <a:sym typeface="Helvetica Neue Medium"/>
        </a:defRPr>
      </a:lvl1pPr>
      <a:lvl2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2pPr>
      <a:lvl3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3pPr>
      <a:lvl4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4pPr>
      <a:lvl5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5pPr>
      <a:lvl6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6pPr>
      <a:lvl7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7pPr>
      <a:lvl8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8pPr>
      <a:lvl9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9pPr>
    </p:titleStyle>
    <p:bodyStyle>
      <a:lvl1pPr marL="3175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1pPr>
      <a:lvl2pPr marL="6350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22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2pPr>
      <a:lvl3pPr marL="9525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3pPr>
      <a:lvl4pPr marL="12700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4pPr>
      <a:lvl5pPr marL="15875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5pPr>
      <a:lvl6pPr marL="19050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6pPr>
      <a:lvl7pPr marL="22225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7pPr>
      <a:lvl8pPr marL="25400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8pPr>
      <a:lvl9pPr marL="28575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9pPr>
    </p:bodyStyle>
    <p:otherStyle>
      <a:lvl1pPr marL="0" marR="0" indent="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1143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2286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3429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4572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5715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6858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8001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9144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Text"/>
          <p:cNvSpPr txBox="1">
            <a:spLocks noGrp="1"/>
          </p:cNvSpPr>
          <p:nvPr>
            <p:ph type="title"/>
          </p:nvPr>
        </p:nvSpPr>
        <p:spPr>
          <a:xfrm>
            <a:off x="883626" y="177800"/>
            <a:ext cx="10502900" cy="1143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 anchor="b">
            <a:normAutofit/>
          </a:bodyPr>
          <a:lstStyle/>
          <a:p>
            <a:r>
              <a:t>Title Text</a:t>
            </a:r>
          </a:p>
        </p:txBody>
      </p:sp>
      <p:sp>
        <p:nvSpPr>
          <p:cNvPr id="3" name="Body Level One…"/>
          <p:cNvSpPr txBox="1">
            <a:spLocks noGrp="1"/>
          </p:cNvSpPr>
          <p:nvPr>
            <p:ph type="body" idx="1"/>
          </p:nvPr>
        </p:nvSpPr>
        <p:spPr>
          <a:xfrm>
            <a:off x="883626" y="1498548"/>
            <a:ext cx="10502900" cy="46482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 anchor="t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DA3B7E24-CEF8-46A1-BA05-80CADD48C8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4723" y="6398237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fld id="{86CB4B4D-7CA3-9044-876B-883B54F8677D}" type="slidenum">
              <a:rPr lang="sv-SE" smtClean="0"/>
              <a:pPr/>
              <a:t>‹#›</a:t>
            </a:fld>
            <a:endParaRPr lang="sv-SE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F84BB5B-3821-45D0-9D69-902C39020B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02749061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F84BB5B-3821-45D0-9D69-902C39020B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827400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8" r:id="rId1"/>
  </p:sldLayoutIdLst>
  <p:transition spd="med"/>
  <p:hf hdr="0" ftr="0" dt="0"/>
  <p:txStyles>
    <p:titleStyle>
      <a:lvl1pPr marL="0" marR="0" indent="0" algn="l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+mn-ea"/>
          <a:cs typeface="+mn-cs"/>
          <a:sym typeface="Helvetica Neue Medium"/>
        </a:defRPr>
      </a:lvl1pPr>
      <a:lvl2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2pPr>
      <a:lvl3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3pPr>
      <a:lvl4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4pPr>
      <a:lvl5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5pPr>
      <a:lvl6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6pPr>
      <a:lvl7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7pPr>
      <a:lvl8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8pPr>
      <a:lvl9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9pPr>
    </p:titleStyle>
    <p:bodyStyle>
      <a:lvl1pPr marL="3175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1pPr>
      <a:lvl2pPr marL="6350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22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2pPr>
      <a:lvl3pPr marL="9525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3pPr>
      <a:lvl4pPr marL="12700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4pPr>
      <a:lvl5pPr marL="15875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5pPr>
      <a:lvl6pPr marL="19050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6pPr>
      <a:lvl7pPr marL="22225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7pPr>
      <a:lvl8pPr marL="25400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8pPr>
      <a:lvl9pPr marL="28575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9pPr>
    </p:bodyStyle>
    <p:otherStyle>
      <a:lvl1pPr marL="0" marR="0" indent="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1143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2286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3429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4572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5715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6858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8001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9144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4F1DBC-09D0-430E-86C4-9E5749B26780}"/>
              </a:ext>
            </a:extLst>
          </p:cNvPr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295746106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592" imgH="591" progId="TCLayout.ActiveDocument.1">
                  <p:embed/>
                </p:oleObj>
              </mc:Choice>
              <mc:Fallback>
                <p:oleObj name="think-cell Slide" r:id="rId17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4F1DBC-09D0-430E-86C4-9E5749B267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Text"/>
          <p:cNvSpPr txBox="1">
            <a:spLocks noGrp="1"/>
          </p:cNvSpPr>
          <p:nvPr>
            <p:ph type="title"/>
          </p:nvPr>
        </p:nvSpPr>
        <p:spPr>
          <a:xfrm>
            <a:off x="844550" y="177800"/>
            <a:ext cx="10502900" cy="1143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 anchor="b">
            <a:normAutofit/>
          </a:bodyPr>
          <a:lstStyle/>
          <a:p>
            <a:r>
              <a:t>Title Text</a:t>
            </a:r>
          </a:p>
        </p:txBody>
      </p:sp>
      <p:sp>
        <p:nvSpPr>
          <p:cNvPr id="3" name="Body Level One…"/>
          <p:cNvSpPr txBox="1">
            <a:spLocks noGrp="1"/>
          </p:cNvSpPr>
          <p:nvPr>
            <p:ph type="body" idx="1"/>
          </p:nvPr>
        </p:nvSpPr>
        <p:spPr>
          <a:xfrm>
            <a:off x="844550" y="1574800"/>
            <a:ext cx="10502900" cy="46482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 anchor="t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</p:spTree>
    <p:extLst>
      <p:ext uri="{BB962C8B-B14F-4D97-AF65-F5344CB8AC3E}">
        <p14:creationId xmlns:p14="http://schemas.microsoft.com/office/powerpoint/2010/main" val="357786727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160" r:id="rId1"/>
    <p:sldLayoutId id="2147484161" r:id="rId2"/>
    <p:sldLayoutId id="2147484162" r:id="rId3"/>
    <p:sldLayoutId id="2147484163" r:id="rId4"/>
    <p:sldLayoutId id="2147484164" r:id="rId5"/>
    <p:sldLayoutId id="2147484165" r:id="rId6"/>
    <p:sldLayoutId id="2147484166" r:id="rId7"/>
    <p:sldLayoutId id="2147484167" r:id="rId8"/>
    <p:sldLayoutId id="2147484168" r:id="rId9"/>
    <p:sldLayoutId id="2147484169" r:id="rId10"/>
    <p:sldLayoutId id="2147484170" r:id="rId11"/>
    <p:sldLayoutId id="2147484171" r:id="rId12"/>
    <p:sldLayoutId id="2147484172" r:id="rId13"/>
    <p:sldLayoutId id="2147484173" r:id="rId14"/>
  </p:sldLayoutIdLst>
  <p:transition spd="med"/>
  <p:hf hdr="0" ftr="0" dt="0"/>
  <p:txStyles>
    <p:titleStyle>
      <a:lvl1pPr marL="0" marR="0" indent="0" algn="l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+mn-ea"/>
          <a:cs typeface="+mn-cs"/>
          <a:sym typeface="Helvetica Neue Medium"/>
        </a:defRPr>
      </a:lvl1pPr>
      <a:lvl2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2pPr>
      <a:lvl3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3pPr>
      <a:lvl4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4pPr>
      <a:lvl5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5pPr>
      <a:lvl6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6pPr>
      <a:lvl7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7pPr>
      <a:lvl8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8pPr>
      <a:lvl9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9pPr>
    </p:titleStyle>
    <p:bodyStyle>
      <a:lvl1pPr marL="3175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1pPr>
      <a:lvl2pPr marL="6350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22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2pPr>
      <a:lvl3pPr marL="9525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3pPr>
      <a:lvl4pPr marL="12700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4pPr>
      <a:lvl5pPr marL="15875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5pPr>
      <a:lvl6pPr marL="19050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6pPr>
      <a:lvl7pPr marL="22225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7pPr>
      <a:lvl8pPr marL="25400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8pPr>
      <a:lvl9pPr marL="28575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9pPr>
    </p:bodyStyle>
    <p:otherStyle>
      <a:lvl1pPr marL="0" marR="0" indent="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1143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2286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3429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4572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5715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6858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8001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9144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Text"/>
          <p:cNvSpPr txBox="1">
            <a:spLocks noGrp="1"/>
          </p:cNvSpPr>
          <p:nvPr>
            <p:ph type="title"/>
          </p:nvPr>
        </p:nvSpPr>
        <p:spPr>
          <a:xfrm>
            <a:off x="883626" y="177800"/>
            <a:ext cx="10502900" cy="1143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800" tIns="50800" rIns="50800" bIns="50800" anchor="b">
            <a:normAutofit/>
          </a:bodyPr>
          <a:lstStyle/>
          <a:p>
            <a:r>
              <a:t>Title Text</a:t>
            </a:r>
          </a:p>
        </p:txBody>
      </p:sp>
      <p:sp>
        <p:nvSpPr>
          <p:cNvPr id="3" name="Body Level One…"/>
          <p:cNvSpPr txBox="1">
            <a:spLocks noGrp="1"/>
          </p:cNvSpPr>
          <p:nvPr>
            <p:ph type="body" idx="1"/>
          </p:nvPr>
        </p:nvSpPr>
        <p:spPr>
          <a:xfrm>
            <a:off x="883626" y="1498548"/>
            <a:ext cx="10502900" cy="46482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800" tIns="50800" rIns="50800" bIns="50800" anchor="t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DA3B7E24-CEF8-46A1-BA05-80CADD48C8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6891" y="6324495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fld id="{86CB4B4D-7CA3-9044-876B-883B54F8677D}" type="slidenum">
              <a:rPr lang="sv-SE" smtClean="0"/>
              <a:pPr/>
              <a:t>‹#›</a:t>
            </a:fld>
            <a:endParaRPr lang="sv-SE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1BB2673-FAAB-4F3F-900B-746E104E050F}"/>
              </a:ext>
            </a:extLst>
          </p:cNvPr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998188369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592" imgH="591" progId="TCLayout.ActiveDocument.1">
                  <p:embed/>
                </p:oleObj>
              </mc:Choice>
              <mc:Fallback>
                <p:oleObj name="think-cell Slide" r:id="rId21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1BB2673-FAAB-4F3F-900B-746E104E05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0BF99A41-F04C-4748-A8EB-826C7135B03D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4000" b="1" i="0" baseline="0" err="1">
              <a:solidFill>
                <a:schemeClr val="accent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44178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5" r:id="rId1"/>
    <p:sldLayoutId id="2147484176" r:id="rId2"/>
    <p:sldLayoutId id="2147484177" r:id="rId3"/>
    <p:sldLayoutId id="2147484178" r:id="rId4"/>
    <p:sldLayoutId id="2147484179" r:id="rId5"/>
    <p:sldLayoutId id="2147484180" r:id="rId6"/>
    <p:sldLayoutId id="2147484181" r:id="rId7"/>
    <p:sldLayoutId id="2147484182" r:id="rId8"/>
    <p:sldLayoutId id="2147484183" r:id="rId9"/>
    <p:sldLayoutId id="2147484184" r:id="rId10"/>
    <p:sldLayoutId id="2147484185" r:id="rId11"/>
    <p:sldLayoutId id="2147484186" r:id="rId12"/>
    <p:sldLayoutId id="2147484187" r:id="rId13"/>
    <p:sldLayoutId id="2147484188" r:id="rId14"/>
    <p:sldLayoutId id="2147484189" r:id="rId15"/>
    <p:sldLayoutId id="2147484190" r:id="rId16"/>
    <p:sldLayoutId id="2147484191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marL="0" marR="0" indent="0" algn="l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+mn-ea"/>
          <a:cs typeface="+mn-cs"/>
          <a:sym typeface="Helvetica Neue Medium"/>
        </a:defRPr>
      </a:lvl1pPr>
      <a:lvl2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2pPr>
      <a:lvl3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3pPr>
      <a:lvl4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4pPr>
      <a:lvl5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5pPr>
      <a:lvl6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6pPr>
      <a:lvl7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7pPr>
      <a:lvl8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8pPr>
      <a:lvl9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9pPr>
    </p:titleStyle>
    <p:bodyStyle>
      <a:lvl1pPr marL="3175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1pPr>
      <a:lvl2pPr marL="6350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22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2pPr>
      <a:lvl3pPr marL="9525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3pPr>
      <a:lvl4pPr marL="12700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4pPr>
      <a:lvl5pPr marL="15875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Euclid Circular B Regular"/>
          <a:ea typeface="Euclid Circular B Regular"/>
          <a:cs typeface="Arial" panose="020B0604020202020204" pitchFamily="34" charset="0"/>
          <a:sym typeface="Helvetica Neue"/>
        </a:defRPr>
      </a:lvl5pPr>
      <a:lvl6pPr marL="19050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6pPr>
      <a:lvl7pPr marL="22225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7pPr>
      <a:lvl8pPr marL="25400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8pPr>
      <a:lvl9pPr marL="28575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9pPr>
    </p:bodyStyle>
    <p:otherStyle>
      <a:lvl1pPr marL="0" marR="0" indent="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1143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2286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3429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4572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5715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6858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8001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9144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7" Type="http://schemas.openxmlformats.org/officeDocument/2006/relationships/image" Target="../media/image16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5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EBF410AA-1C0A-4ACA-A6E2-172570D6B974}"/>
              </a:ext>
            </a:extLst>
          </p:cNvPr>
          <p:cNvSpPr txBox="1"/>
          <p:nvPr/>
        </p:nvSpPr>
        <p:spPr>
          <a:xfrm>
            <a:off x="390169" y="141195"/>
            <a:ext cx="11373607" cy="96436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50800" tIns="50800" rIns="50800" bIns="50800" rtlCol="0">
            <a:spAutoFit/>
          </a:bodyPr>
          <a:lstStyle/>
          <a:p>
            <a:pPr lvl="0"/>
            <a:r>
              <a:rPr lang="sv-SE" sz="2800" b="1" dirty="0">
                <a:latin typeface="Arial" panose="020B0604020202020204" pitchFamily="34" charset="0"/>
                <a:cs typeface="Arial" panose="020B0604020202020204" pitchFamily="34" charset="0"/>
                <a:sym typeface="Euclid Circular B Regular"/>
              </a:rPr>
              <a:t>Kapitel 4 </a:t>
            </a:r>
            <a:r>
              <a:rPr lang="sv-SE" sz="2800" dirty="0">
                <a:latin typeface="Arial" panose="020B0604020202020204" pitchFamily="34" charset="0"/>
                <a:cs typeface="Arial" panose="020B0604020202020204" pitchFamily="34" charset="0"/>
                <a:sym typeface="Euclid Circular B Regular"/>
              </a:rPr>
              <a:t>– Övning: </a:t>
            </a:r>
            <a:r>
              <a:rPr lang="sv-SE" sz="2800" dirty="0">
                <a:latin typeface="Arial" panose="020B0604020202020204" pitchFamily="34" charset="0"/>
                <a:cs typeface="Arial" panose="020B0604020202020204" pitchFamily="34" charset="0"/>
              </a:rPr>
              <a:t>Vilka aktiviteter kan förbättra er förmåga att identifiera, tolka och hantera tidiga tecken?</a:t>
            </a:r>
            <a:endParaRPr lang="sv-SE" sz="3200" dirty="0">
              <a:latin typeface="Arial" panose="020B0604020202020204" pitchFamily="34" charset="0"/>
              <a:cs typeface="Arial" panose="020B0604020202020204" pitchFamily="34" charset="0"/>
              <a:sym typeface="Euclid Circular B Regular"/>
            </a:endParaRPr>
          </a:p>
        </p:txBody>
      </p:sp>
      <p:grpSp>
        <p:nvGrpSpPr>
          <p:cNvPr id="4" name="Grupp 3" descr="Illustration av processtegen: Identifiera, Tolka, Hantera">
            <a:extLst>
              <a:ext uri="{FF2B5EF4-FFF2-40B4-BE49-F238E27FC236}">
                <a16:creationId xmlns:a16="http://schemas.microsoft.com/office/drawing/2014/main" id="{3D228431-CF02-4531-9091-59F48D0994E0}"/>
              </a:ext>
            </a:extLst>
          </p:cNvPr>
          <p:cNvGrpSpPr/>
          <p:nvPr/>
        </p:nvGrpSpPr>
        <p:grpSpPr>
          <a:xfrm>
            <a:off x="8461739" y="697751"/>
            <a:ext cx="3278050" cy="815622"/>
            <a:chOff x="8478982" y="634778"/>
            <a:chExt cx="3278050" cy="815622"/>
          </a:xfrm>
        </p:grpSpPr>
        <p:sp>
          <p:nvSpPr>
            <p:cNvPr id="18" name="Textfeld 1">
              <a:extLst>
                <a:ext uri="{FF2B5EF4-FFF2-40B4-BE49-F238E27FC236}">
                  <a16:creationId xmlns:a16="http://schemas.microsoft.com/office/drawing/2014/main" id="{E1056375-97F2-418F-9754-F1864A35B90B}"/>
                </a:ext>
              </a:extLst>
            </p:cNvPr>
            <p:cNvSpPr txBox="1"/>
            <p:nvPr/>
          </p:nvSpPr>
          <p:spPr bwMode="gray">
            <a:xfrm>
              <a:off x="8562744" y="1192405"/>
              <a:ext cx="1089857" cy="253916"/>
            </a:xfrm>
            <a:prstGeom prst="rect">
              <a:avLst/>
            </a:prstGeom>
            <a:solidFill>
              <a:schemeClr val="bg2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E600"/>
                </a:buClr>
                <a:buSzTx/>
                <a:buFontTx/>
                <a:buNone/>
                <a:tabLst/>
                <a:defRPr/>
              </a:pPr>
              <a:r>
                <a:rPr kumimoji="0" lang="sv-SE" sz="105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Identifiera </a:t>
              </a:r>
              <a:endParaRPr kumimoji="0" lang="sv-SE" sz="9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Textfeld 1">
              <a:extLst>
                <a:ext uri="{FF2B5EF4-FFF2-40B4-BE49-F238E27FC236}">
                  <a16:creationId xmlns:a16="http://schemas.microsoft.com/office/drawing/2014/main" id="{2EA0E9FC-84EB-4222-B1B2-B5534C6C81CB}"/>
                </a:ext>
              </a:extLst>
            </p:cNvPr>
            <p:cNvSpPr txBox="1"/>
            <p:nvPr/>
          </p:nvSpPr>
          <p:spPr bwMode="gray">
            <a:xfrm>
              <a:off x="9562739" y="1188790"/>
              <a:ext cx="1089857" cy="261610"/>
            </a:xfrm>
            <a:prstGeom prst="rect">
              <a:avLst/>
            </a:prstGeom>
            <a:solidFill>
              <a:schemeClr val="bg2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E600"/>
                </a:buClr>
                <a:buSzTx/>
                <a:buFontTx/>
                <a:buNone/>
                <a:tabLst/>
                <a:defRPr/>
              </a:pPr>
              <a:r>
                <a:rPr kumimoji="0" lang="sv-SE" sz="105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Tolka</a:t>
              </a:r>
              <a:endParaRPr kumimoji="0" lang="sv-SE" sz="9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Textfeld 1">
              <a:extLst>
                <a:ext uri="{FF2B5EF4-FFF2-40B4-BE49-F238E27FC236}">
                  <a16:creationId xmlns:a16="http://schemas.microsoft.com/office/drawing/2014/main" id="{2B97940A-5768-45FB-8CBB-3F590CD2D0AB}"/>
                </a:ext>
              </a:extLst>
            </p:cNvPr>
            <p:cNvSpPr txBox="1"/>
            <p:nvPr/>
          </p:nvSpPr>
          <p:spPr bwMode="gray">
            <a:xfrm>
              <a:off x="10579261" y="1188790"/>
              <a:ext cx="1089857" cy="253916"/>
            </a:xfrm>
            <a:prstGeom prst="rect">
              <a:avLst/>
            </a:prstGeom>
            <a:solidFill>
              <a:schemeClr val="bg2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E600"/>
                </a:buClr>
                <a:buSzTx/>
                <a:buFontTx/>
                <a:buNone/>
                <a:tabLst/>
                <a:defRPr/>
              </a:pPr>
              <a:r>
                <a:rPr kumimoji="0" lang="sv-SE" sz="105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Hantera</a:t>
              </a:r>
              <a:r>
                <a:rPr kumimoji="0" lang="sv-SE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endParaRPr kumimoji="0" lang="sv-SE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3" name="Graphic 12" descr="Eye">
              <a:extLst>
                <a:ext uri="{FF2B5EF4-FFF2-40B4-BE49-F238E27FC236}">
                  <a16:creationId xmlns:a16="http://schemas.microsoft.com/office/drawing/2014/main" id="{ECD9D812-22C9-4CCB-B67B-CB2BA19D6F5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879057" y="826495"/>
              <a:ext cx="463509" cy="463509"/>
            </a:xfrm>
            <a:prstGeom prst="rect">
              <a:avLst/>
            </a:prstGeom>
          </p:spPr>
        </p:pic>
        <p:pic>
          <p:nvPicPr>
            <p:cNvPr id="14" name="Graphic 13" descr="Head with gears">
              <a:extLst>
                <a:ext uri="{FF2B5EF4-FFF2-40B4-BE49-F238E27FC236}">
                  <a16:creationId xmlns:a16="http://schemas.microsoft.com/office/drawing/2014/main" id="{5CC37981-2366-468C-B061-AB0442A7BB5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949960" y="890693"/>
              <a:ext cx="330113" cy="330113"/>
            </a:xfrm>
            <a:prstGeom prst="rect">
              <a:avLst/>
            </a:prstGeom>
          </p:spPr>
        </p:pic>
        <p:pic>
          <p:nvPicPr>
            <p:cNvPr id="21" name="Graphic 20" descr="Open hand">
              <a:extLst>
                <a:ext uri="{FF2B5EF4-FFF2-40B4-BE49-F238E27FC236}">
                  <a16:creationId xmlns:a16="http://schemas.microsoft.com/office/drawing/2014/main" id="{869A1287-744B-41B9-AA7C-066510BD428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0907696" y="822880"/>
              <a:ext cx="443105" cy="443105"/>
            </a:xfrm>
            <a:prstGeom prst="rect">
              <a:avLst/>
            </a:prstGeom>
          </p:spPr>
        </p:pic>
        <p:sp>
          <p:nvSpPr>
            <p:cNvPr id="2" name="Rektangel 1">
              <a:extLst>
                <a:ext uri="{FF2B5EF4-FFF2-40B4-BE49-F238E27FC236}">
                  <a16:creationId xmlns:a16="http://schemas.microsoft.com/office/drawing/2014/main" id="{CD2CCE13-F6DD-4145-87FB-DD01FC557D38}"/>
                </a:ext>
              </a:extLst>
            </p:cNvPr>
            <p:cNvSpPr/>
            <p:nvPr/>
          </p:nvSpPr>
          <p:spPr>
            <a:xfrm>
              <a:off x="8478982" y="634778"/>
              <a:ext cx="3278050" cy="805468"/>
            </a:xfrm>
            <a:prstGeom prst="rect">
              <a:avLst/>
            </a:prstGeom>
            <a:noFill/>
            <a:ln w="12700" cap="flat">
              <a:solidFill>
                <a:schemeClr val="tx1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sv-SE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Neue Medium"/>
              </a:endParaRPr>
            </a:p>
          </p:txBody>
        </p:sp>
        <p:sp>
          <p:nvSpPr>
            <p:cNvPr id="17" name="Textfeld 1">
              <a:extLst>
                <a:ext uri="{FF2B5EF4-FFF2-40B4-BE49-F238E27FC236}">
                  <a16:creationId xmlns:a16="http://schemas.microsoft.com/office/drawing/2014/main" id="{EB124FD7-7EBC-42CE-BF86-85D8B301FB87}"/>
                </a:ext>
              </a:extLst>
            </p:cNvPr>
            <p:cNvSpPr txBox="1"/>
            <p:nvPr/>
          </p:nvSpPr>
          <p:spPr bwMode="gray">
            <a:xfrm>
              <a:off x="8525800" y="658218"/>
              <a:ext cx="969733" cy="253916"/>
            </a:xfrm>
            <a:prstGeom prst="rect">
              <a:avLst/>
            </a:prstGeom>
            <a:solidFill>
              <a:schemeClr val="bg2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>
                  <a:srgbClr val="FFE600"/>
                </a:buClr>
                <a:buSzTx/>
                <a:buFontTx/>
                <a:buNone/>
                <a:tabLst/>
                <a:defRPr/>
              </a:pPr>
              <a:r>
                <a:rPr kumimoji="0" lang="sv-SE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Processteg</a:t>
              </a:r>
              <a:endParaRPr kumimoji="0" lang="sv-SE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07FEAB31-E9E2-497D-97F6-6128F6E2FC3F}"/>
              </a:ext>
            </a:extLst>
          </p:cNvPr>
          <p:cNvSpPr/>
          <p:nvPr/>
        </p:nvSpPr>
        <p:spPr>
          <a:xfrm>
            <a:off x="414158" y="1643441"/>
            <a:ext cx="11325631" cy="681216"/>
          </a:xfrm>
          <a:prstGeom prst="rect">
            <a:avLst/>
          </a:prstGeom>
          <a:solidFill>
            <a:srgbClr val="F2F2F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ammanställning av aktiviteter:			Processteg		Potentiell effekt</a:t>
            </a: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61FB367A-CB00-4040-842C-DED2331A89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0364090"/>
              </p:ext>
            </p:extLst>
          </p:nvPr>
        </p:nvGraphicFramePr>
        <p:xfrm>
          <a:off x="414158" y="2280280"/>
          <a:ext cx="11325632" cy="441412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21802">
                  <a:extLst>
                    <a:ext uri="{9D8B030D-6E8A-4147-A177-3AD203B41FA5}">
                      <a16:colId xmlns:a16="http://schemas.microsoft.com/office/drawing/2014/main" val="2326607159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1906648100"/>
                    </a:ext>
                  </a:extLst>
                </a:gridCol>
                <a:gridCol w="4131622">
                  <a:extLst>
                    <a:ext uri="{9D8B030D-6E8A-4147-A177-3AD203B41FA5}">
                      <a16:colId xmlns:a16="http://schemas.microsoft.com/office/drawing/2014/main" val="1143003954"/>
                    </a:ext>
                  </a:extLst>
                </a:gridCol>
              </a:tblGrid>
              <a:tr h="630589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2200" b="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2200" b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2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5804889"/>
                  </a:ext>
                </a:extLst>
              </a:tr>
              <a:tr h="630589"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endParaRPr lang="sv-SE" sz="2200" b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22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22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238190"/>
                  </a:ext>
                </a:extLst>
              </a:tr>
              <a:tr h="630589"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endParaRPr lang="sv-SE" sz="2200" b="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22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22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5645074"/>
                  </a:ext>
                </a:extLst>
              </a:tr>
              <a:tr h="630589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2200" b="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22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22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7602236"/>
                  </a:ext>
                </a:extLst>
              </a:tr>
              <a:tr h="630589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2200" b="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22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22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6518948"/>
                  </a:ext>
                </a:extLst>
              </a:tr>
              <a:tr h="630589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2200" b="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22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22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64386"/>
                  </a:ext>
                </a:extLst>
              </a:tr>
              <a:tr h="630589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2200" b="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22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2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1942896"/>
                  </a:ext>
                </a:extLst>
              </a:tr>
            </a:tbl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E15A06-4021-44C1-89AE-247EF374FA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114D91-4524-0541-9CCE-86E92887A391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uclid Circular A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uclid Circular A"/>
            </a:endParaRPr>
          </a:p>
        </p:txBody>
      </p:sp>
    </p:spTree>
    <p:extLst>
      <p:ext uri="{BB962C8B-B14F-4D97-AF65-F5344CB8AC3E}">
        <p14:creationId xmlns:p14="http://schemas.microsoft.com/office/powerpoint/2010/main" val="2703418143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7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Y-%m-%d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4&quot;&gt;&lt;elem m_fUsage=&quot;3.31703100000000050684E+00&quot;&gt;&lt;m_msothmcolidx val=&quot;0&quot;/&gt;&lt;m_rgb r=&quot;41&quot; g=&quot;23&quot; b=&quot;57&quot;/&gt;&lt;m_nBrightness val=&quot;0&quot;/&gt;&lt;/elem&gt;&lt;elem m_fUsage=&quot;1.00000000000000000000E+00&quot;&gt;&lt;m_msothmcolidx val=&quot;0&quot;/&gt;&lt;m_rgb r=&quot;FB&quot; g=&quot;FB&quot; b=&quot;04&quot;/&gt;&lt;m_nBrightness val=&quot;0&quot;/&gt;&lt;/elem&gt;&lt;elem m_fUsage=&quot;9.08764110000000013834E-01&quot;&gt;&lt;m_msothmcolidx val=&quot;0&quot;/&gt;&lt;m_rgb r=&quot;D5&quot; g=&quot;97&quot; b=&quot;F9&quot;/&gt;&lt;m_nBrightness val=&quot;0&quot;/&gt;&lt;/elem&gt;&lt;elem m_fUsage=&quot;9.00000000000000022204E-01&quot;&gt;&lt;m_msothmcolidx val=&quot;0&quot;/&gt;&lt;m_rgb r=&quot;FF&quot; g=&quot;E6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WdK7zNv7ogXyxJDUgjA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sRqYq3oZdJkatuGO5q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artsrådet v 2.0">
  <a:themeElements>
    <a:clrScheme name="Partsrådet1">
      <a:dk1>
        <a:srgbClr val="FFFFFF"/>
      </a:dk1>
      <a:lt1>
        <a:srgbClr val="000000"/>
      </a:lt1>
      <a:dk2>
        <a:srgbClr val="FDD1D1"/>
      </a:dk2>
      <a:lt2>
        <a:srgbClr val="154E45"/>
      </a:lt2>
      <a:accent1>
        <a:srgbClr val="009BA2"/>
      </a:accent1>
      <a:accent2>
        <a:srgbClr val="045C6E"/>
      </a:accent2>
      <a:accent3>
        <a:srgbClr val="27234A"/>
      </a:accent3>
      <a:accent4>
        <a:srgbClr val="4D345F"/>
      </a:accent4>
      <a:accent5>
        <a:srgbClr val="AF4E55"/>
      </a:accent5>
      <a:accent6>
        <a:srgbClr val="F7F5F1"/>
      </a:accent6>
      <a:hlink>
        <a:srgbClr val="EFE9DF"/>
      </a:hlink>
      <a:folHlink>
        <a:srgbClr val="E3E3E3"/>
      </a:folHlink>
    </a:clrScheme>
    <a:fontScheme name="Partsrådets typografi">
      <a:majorFont>
        <a:latin typeface="Euclid Circular A"/>
        <a:ea typeface="Helvetica Neue Medium"/>
        <a:cs typeface="Helvetica Neue Medium"/>
      </a:majorFont>
      <a:minorFont>
        <a:latin typeface="Euclid Circular A"/>
        <a:ea typeface="Helvetica Neue Medium"/>
        <a:cs typeface="Helvetica Neue Medium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ln w="12700">
          <a:miter lim="400000"/>
        </a:ln>
        <a:extLst>
          <a:ext uri="{C572A759-6A51-4108-AA02-DFA0A04FC94B}">
            <ma14:wrappingTextBoxFlag xmlns:r="http://schemas.openxmlformats.org/officeDocument/2006/relationships" xmlns:p="http://schemas.openxmlformats.org/presentationml/2006/main" xmlns:ma14="http://schemas.microsoft.com/office/mac/drawingml/2011/main" xmlns:a14="http://schemas.microsoft.com/office/drawing/2010/main" xmlns:m="http://schemas.openxmlformats.org/officeDocument/2006/math" xmlns="" val="1"/>
          </a:ext>
        </a:extLst>
      </a:spPr>
      <a:bodyPr lIns="50800" tIns="50800" rIns="50800" bIns="50800">
        <a:spAutoFit/>
      </a:bodyPr>
      <a:lstStyle>
        <a:defPPr algn="l" defTabSz="457200">
          <a:lnSpc>
            <a:spcPct val="130000"/>
          </a:lnSpc>
          <a:defRPr sz="3200" b="0" dirty="0">
            <a:latin typeface="+mn-lt"/>
            <a:ea typeface="Euclid Circular B Regular"/>
            <a:cs typeface="Euclid Circular B Regular"/>
            <a:sym typeface="Euclid Circular B Regular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artsrådet v 2.0" id="{9E2DBDA1-701F-475A-BEAA-5BA5E052FC24}" vid="{59510600-A02F-4B42-A31C-27E701D3A49A}"/>
    </a:ext>
  </a:extLst>
</a:theme>
</file>

<file path=ppt/theme/theme2.xml><?xml version="1.0" encoding="utf-8"?>
<a:theme xmlns:a="http://schemas.openxmlformats.org/drawingml/2006/main" name="1_Svart text">
  <a:themeElements>
    <a:clrScheme name="Partsrådet1">
      <a:dk1>
        <a:srgbClr val="FFFFFF"/>
      </a:dk1>
      <a:lt1>
        <a:srgbClr val="000000"/>
      </a:lt1>
      <a:dk2>
        <a:srgbClr val="FDD1D1"/>
      </a:dk2>
      <a:lt2>
        <a:srgbClr val="154E45"/>
      </a:lt2>
      <a:accent1>
        <a:srgbClr val="009BA2"/>
      </a:accent1>
      <a:accent2>
        <a:srgbClr val="045C6E"/>
      </a:accent2>
      <a:accent3>
        <a:srgbClr val="27234A"/>
      </a:accent3>
      <a:accent4>
        <a:srgbClr val="4D345F"/>
      </a:accent4>
      <a:accent5>
        <a:srgbClr val="AF4E55"/>
      </a:accent5>
      <a:accent6>
        <a:srgbClr val="F7F5F1"/>
      </a:accent6>
      <a:hlink>
        <a:srgbClr val="EFE9DF"/>
      </a:hlink>
      <a:folHlink>
        <a:srgbClr val="E3E3E3"/>
      </a:folHlink>
    </a:clrScheme>
    <a:fontScheme name="Partsrådets typografi">
      <a:majorFont>
        <a:latin typeface="Euclid Circular A"/>
        <a:ea typeface="Helvetica Neue Medium"/>
        <a:cs typeface="Helvetica Neue Medium"/>
      </a:majorFont>
      <a:minorFont>
        <a:latin typeface="Euclid Circular A"/>
        <a:ea typeface="Helvetica Neue Medium"/>
        <a:cs typeface="Helvetica Neue Medium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ln w="12700">
          <a:miter lim="400000"/>
        </a:ln>
        <a:extLst>
          <a:ext uri="{C572A759-6A51-4108-AA02-DFA0A04FC94B}">
            <ma14:wrappingTextBoxFlag xmlns:r="http://schemas.openxmlformats.org/officeDocument/2006/relationships" xmlns:p="http://schemas.openxmlformats.org/presentationml/2006/main" xmlns:ma14="http://schemas.microsoft.com/office/mac/drawingml/2011/main" xmlns:a14="http://schemas.microsoft.com/office/drawing/2010/main" xmlns:m="http://schemas.openxmlformats.org/officeDocument/2006/math" xmlns="" val="1"/>
          </a:ext>
        </a:extLst>
      </a:spPr>
      <a:bodyPr lIns="50800" tIns="50800" rIns="50800" bIns="50800">
        <a:spAutoFit/>
      </a:bodyPr>
      <a:lstStyle>
        <a:defPPr algn="l" defTabSz="457200">
          <a:lnSpc>
            <a:spcPct val="130000"/>
          </a:lnSpc>
          <a:defRPr sz="3200" b="0" dirty="0">
            <a:latin typeface="+mn-lt"/>
            <a:ea typeface="Euclid Circular B Regular"/>
            <a:cs typeface="Euclid Circular B Regular"/>
            <a:sym typeface="Euclid Circular B Regular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artsrådet_PPT-mall_EuclidCircularA_jan2020.potx" id="{B1FD3F63-D1CC-4C46-B689-F3B9CB9C8ACB}" vid="{450ED7F2-CB25-4D65-9723-19760ACD3B11}"/>
    </a:ext>
  </a:extLst>
</a:theme>
</file>

<file path=ppt/theme/theme3.xml><?xml version="1.0" encoding="utf-8"?>
<a:theme xmlns:a="http://schemas.openxmlformats.org/drawingml/2006/main" name="1_Partsrådet v 2.0">
  <a:themeElements>
    <a:clrScheme name="Partsrådet1">
      <a:dk1>
        <a:srgbClr val="FFFFFF"/>
      </a:dk1>
      <a:lt1>
        <a:srgbClr val="000000"/>
      </a:lt1>
      <a:dk2>
        <a:srgbClr val="FDD1D1"/>
      </a:dk2>
      <a:lt2>
        <a:srgbClr val="154E45"/>
      </a:lt2>
      <a:accent1>
        <a:srgbClr val="009BA2"/>
      </a:accent1>
      <a:accent2>
        <a:srgbClr val="045C6E"/>
      </a:accent2>
      <a:accent3>
        <a:srgbClr val="27234A"/>
      </a:accent3>
      <a:accent4>
        <a:srgbClr val="4D345F"/>
      </a:accent4>
      <a:accent5>
        <a:srgbClr val="AF4E55"/>
      </a:accent5>
      <a:accent6>
        <a:srgbClr val="F7F5F1"/>
      </a:accent6>
      <a:hlink>
        <a:srgbClr val="EFE9DF"/>
      </a:hlink>
      <a:folHlink>
        <a:srgbClr val="E3E3E3"/>
      </a:folHlink>
    </a:clrScheme>
    <a:fontScheme name="Partsrådets typografi">
      <a:majorFont>
        <a:latin typeface="Euclid Circular A"/>
        <a:ea typeface="Helvetica Neue Medium"/>
        <a:cs typeface="Helvetica Neue Medium"/>
      </a:majorFont>
      <a:minorFont>
        <a:latin typeface="Euclid Circular A"/>
        <a:ea typeface="Helvetica Neue Medium"/>
        <a:cs typeface="Helvetica Neue Medium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ln w="12700">
          <a:miter lim="400000"/>
        </a:ln>
        <a:extLst>
          <a:ext uri="{C572A759-6A51-4108-AA02-DFA0A04FC94B}">
            <ma14:wrappingTextBoxFlag xmlns:r="http://schemas.openxmlformats.org/officeDocument/2006/relationships" xmlns:p="http://schemas.openxmlformats.org/presentationml/2006/main" xmlns:ma14="http://schemas.microsoft.com/office/mac/drawingml/2011/main" xmlns:a14="http://schemas.microsoft.com/office/drawing/2010/main" xmlns:m="http://schemas.openxmlformats.org/officeDocument/2006/math" xmlns="" val="1"/>
          </a:ext>
        </a:extLst>
      </a:spPr>
      <a:bodyPr lIns="50800" tIns="50800" rIns="50800" bIns="50800">
        <a:spAutoFit/>
      </a:bodyPr>
      <a:lstStyle>
        <a:defPPr algn="l" defTabSz="457200">
          <a:lnSpc>
            <a:spcPct val="130000"/>
          </a:lnSpc>
          <a:defRPr sz="3200" b="0" dirty="0">
            <a:latin typeface="+mn-lt"/>
            <a:ea typeface="Euclid Circular B Regular"/>
            <a:cs typeface="Euclid Circular B Regular"/>
            <a:sym typeface="Euclid Circular B Regular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artsrådet v 2.0" id="{9E2DBDA1-701F-475A-BEAA-5BA5E052FC24}" vid="{59510600-A02F-4B42-A31C-27E701D3A49A}"/>
    </a:ext>
  </a:extLst>
</a:theme>
</file>

<file path=ppt/theme/theme4.xml><?xml version="1.0" encoding="utf-8"?>
<a:theme xmlns:a="http://schemas.openxmlformats.org/drawingml/2006/main" name="2_Svart text">
  <a:themeElements>
    <a:clrScheme name="Partsrådet1">
      <a:dk1>
        <a:srgbClr val="FFFFFF"/>
      </a:dk1>
      <a:lt1>
        <a:srgbClr val="000000"/>
      </a:lt1>
      <a:dk2>
        <a:srgbClr val="FDD1D1"/>
      </a:dk2>
      <a:lt2>
        <a:srgbClr val="154E45"/>
      </a:lt2>
      <a:accent1>
        <a:srgbClr val="009BA2"/>
      </a:accent1>
      <a:accent2>
        <a:srgbClr val="045C6E"/>
      </a:accent2>
      <a:accent3>
        <a:srgbClr val="27234A"/>
      </a:accent3>
      <a:accent4>
        <a:srgbClr val="4D345F"/>
      </a:accent4>
      <a:accent5>
        <a:srgbClr val="AF4E55"/>
      </a:accent5>
      <a:accent6>
        <a:srgbClr val="F7F5F1"/>
      </a:accent6>
      <a:hlink>
        <a:srgbClr val="EFE9DF"/>
      </a:hlink>
      <a:folHlink>
        <a:srgbClr val="E3E3E3"/>
      </a:folHlink>
    </a:clrScheme>
    <a:fontScheme name="Partsrådets typografi">
      <a:majorFont>
        <a:latin typeface="Euclid Circular A"/>
        <a:ea typeface="Helvetica Neue Medium"/>
        <a:cs typeface="Helvetica Neue Medium"/>
      </a:majorFont>
      <a:minorFont>
        <a:latin typeface="Euclid Circular A"/>
        <a:ea typeface="Helvetica Neue Medium"/>
        <a:cs typeface="Helvetica Neue Medium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ln w="12700">
          <a:miter lim="400000"/>
        </a:ln>
        <a:extLst>
          <a:ext uri="{C572A759-6A51-4108-AA02-DFA0A04FC94B}">
            <ma14:wrappingTextBoxFlag xmlns:r="http://schemas.openxmlformats.org/officeDocument/2006/relationships" xmlns:p="http://schemas.openxmlformats.org/presentationml/2006/main" xmlns:ma14="http://schemas.microsoft.com/office/mac/drawingml/2011/main" xmlns:a14="http://schemas.microsoft.com/office/drawing/2010/main" xmlns:m="http://schemas.openxmlformats.org/officeDocument/2006/math" xmlns="" val="1"/>
          </a:ext>
        </a:extLst>
      </a:spPr>
      <a:bodyPr lIns="50800" tIns="50800" rIns="50800" bIns="50800">
        <a:spAutoFit/>
      </a:bodyPr>
      <a:lstStyle>
        <a:defPPr algn="l" defTabSz="457200">
          <a:lnSpc>
            <a:spcPct val="130000"/>
          </a:lnSpc>
          <a:defRPr sz="3200" b="0" dirty="0">
            <a:latin typeface="+mn-lt"/>
            <a:ea typeface="Euclid Circular B Regular"/>
            <a:cs typeface="Euclid Circular B Regular"/>
            <a:sym typeface="Euclid Circular B Regular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artsrådet_PPT-mall_EuclidCircularA_jan2020.potx" id="{B1FD3F63-D1CC-4C46-B689-F3B9CB9C8ACB}" vid="{450ED7F2-CB25-4D65-9723-19760ACD3B11}"/>
    </a:ext>
  </a:extLst>
</a:theme>
</file>

<file path=ppt/theme/theme5.xml><?xml version="1.0" encoding="utf-8"?>
<a:theme xmlns:a="http://schemas.openxmlformats.org/drawingml/2006/main" name="2_Partsrådet v 2.0">
  <a:themeElements>
    <a:clrScheme name="Partsrådet1">
      <a:dk1>
        <a:srgbClr val="FFFFFF"/>
      </a:dk1>
      <a:lt1>
        <a:srgbClr val="000000"/>
      </a:lt1>
      <a:dk2>
        <a:srgbClr val="FDD1D1"/>
      </a:dk2>
      <a:lt2>
        <a:srgbClr val="154E45"/>
      </a:lt2>
      <a:accent1>
        <a:srgbClr val="009BA2"/>
      </a:accent1>
      <a:accent2>
        <a:srgbClr val="045C6E"/>
      </a:accent2>
      <a:accent3>
        <a:srgbClr val="27234A"/>
      </a:accent3>
      <a:accent4>
        <a:srgbClr val="4D345F"/>
      </a:accent4>
      <a:accent5>
        <a:srgbClr val="AF4E55"/>
      </a:accent5>
      <a:accent6>
        <a:srgbClr val="F7F5F1"/>
      </a:accent6>
      <a:hlink>
        <a:srgbClr val="EFE9DF"/>
      </a:hlink>
      <a:folHlink>
        <a:srgbClr val="E3E3E3"/>
      </a:folHlink>
    </a:clrScheme>
    <a:fontScheme name="Partsrådets typografi">
      <a:majorFont>
        <a:latin typeface="Euclid Circular A"/>
        <a:ea typeface="Helvetica Neue Medium"/>
        <a:cs typeface="Helvetica Neue Medium"/>
      </a:majorFont>
      <a:minorFont>
        <a:latin typeface="Euclid Circular A"/>
        <a:ea typeface="Helvetica Neue Medium"/>
        <a:cs typeface="Helvetica Neue Medium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ln w="12700">
          <a:miter lim="400000"/>
        </a:ln>
        <a:extLst>
          <a:ext uri="{C572A759-6A51-4108-AA02-DFA0A04FC94B}">
            <ma14:wrappingTextBoxFlag xmlns:r="http://schemas.openxmlformats.org/officeDocument/2006/relationships" xmlns:p="http://schemas.openxmlformats.org/presentationml/2006/main" xmlns:ma14="http://schemas.microsoft.com/office/mac/drawingml/2011/main" xmlns:a14="http://schemas.microsoft.com/office/drawing/2010/main" xmlns:m="http://schemas.openxmlformats.org/officeDocument/2006/math" xmlns="" val="1"/>
          </a:ext>
        </a:extLst>
      </a:spPr>
      <a:bodyPr lIns="50800" tIns="50800" rIns="50800" bIns="50800">
        <a:spAutoFit/>
      </a:bodyPr>
      <a:lstStyle>
        <a:defPPr algn="l" defTabSz="457200">
          <a:lnSpc>
            <a:spcPct val="130000"/>
          </a:lnSpc>
          <a:defRPr sz="3200" b="0" dirty="0">
            <a:latin typeface="+mn-lt"/>
            <a:ea typeface="Euclid Circular B Regular"/>
            <a:cs typeface="Euclid Circular B Regular"/>
            <a:sym typeface="Euclid Circular B Regular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artsrådet v 2.0" id="{9E2DBDA1-701F-475A-BEAA-5BA5E052FC24}" vid="{59510600-A02F-4B42-A31C-27E701D3A49A}"/>
    </a:ext>
  </a:extLst>
</a:theme>
</file>

<file path=ppt/theme/theme6.xml><?xml version="1.0" encoding="utf-8"?>
<a:theme xmlns:a="http://schemas.openxmlformats.org/drawingml/2006/main" name="3_Svart text">
  <a:themeElements>
    <a:clrScheme name="Partsrådet1">
      <a:dk1>
        <a:srgbClr val="FFFFFF"/>
      </a:dk1>
      <a:lt1>
        <a:srgbClr val="000000"/>
      </a:lt1>
      <a:dk2>
        <a:srgbClr val="FDD1D1"/>
      </a:dk2>
      <a:lt2>
        <a:srgbClr val="154E45"/>
      </a:lt2>
      <a:accent1>
        <a:srgbClr val="009BA2"/>
      </a:accent1>
      <a:accent2>
        <a:srgbClr val="045C6E"/>
      </a:accent2>
      <a:accent3>
        <a:srgbClr val="27234A"/>
      </a:accent3>
      <a:accent4>
        <a:srgbClr val="4D345F"/>
      </a:accent4>
      <a:accent5>
        <a:srgbClr val="AF4E55"/>
      </a:accent5>
      <a:accent6>
        <a:srgbClr val="F7F5F1"/>
      </a:accent6>
      <a:hlink>
        <a:srgbClr val="EFE9DF"/>
      </a:hlink>
      <a:folHlink>
        <a:srgbClr val="E3E3E3"/>
      </a:folHlink>
    </a:clrScheme>
    <a:fontScheme name="Partsrådets typografi">
      <a:majorFont>
        <a:latin typeface="Euclid Circular A"/>
        <a:ea typeface="Helvetica Neue Medium"/>
        <a:cs typeface="Helvetica Neue Medium"/>
      </a:majorFont>
      <a:minorFont>
        <a:latin typeface="Euclid Circular A"/>
        <a:ea typeface="Helvetica Neue Medium"/>
        <a:cs typeface="Helvetica Neue Medium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ln w="12700">
          <a:miter lim="400000"/>
        </a:ln>
        <a:extLst>
          <a:ext uri="{C572A759-6A51-4108-AA02-DFA0A04FC94B}">
            <ma14:wrappingTextBoxFlag xmlns:r="http://schemas.openxmlformats.org/officeDocument/2006/relationships" xmlns:p="http://schemas.openxmlformats.org/presentationml/2006/main" xmlns:ma14="http://schemas.microsoft.com/office/mac/drawingml/2011/main" xmlns:a14="http://schemas.microsoft.com/office/drawing/2010/main" xmlns:m="http://schemas.openxmlformats.org/officeDocument/2006/math" xmlns="" val="1"/>
          </a:ext>
        </a:extLst>
      </a:spPr>
      <a:bodyPr lIns="50800" tIns="50800" rIns="50800" bIns="50800">
        <a:spAutoFit/>
      </a:bodyPr>
      <a:lstStyle>
        <a:defPPr algn="l" defTabSz="457200">
          <a:lnSpc>
            <a:spcPct val="130000"/>
          </a:lnSpc>
          <a:defRPr sz="3200" b="0" dirty="0">
            <a:latin typeface="+mn-lt"/>
            <a:ea typeface="Euclid Circular B Regular"/>
            <a:cs typeface="Euclid Circular B Regular"/>
            <a:sym typeface="Euclid Circular B Regular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artsrådet_PPT-mall_EuclidCircularA_jan2020.potx" id="{B1FD3F63-D1CC-4C46-B689-F3B9CB9C8ACB}" vid="{450ED7F2-CB25-4D65-9723-19760ACD3B11}"/>
    </a:ext>
  </a:extLst>
</a:theme>
</file>

<file path=ppt/theme/theme7.xml><?xml version="1.0" encoding="utf-8"?>
<a:theme xmlns:a="http://schemas.openxmlformats.org/drawingml/2006/main" name="Partsrådet tema 2021">
  <a:themeElements>
    <a:clrScheme name="Partsrådet1">
      <a:dk1>
        <a:srgbClr val="FFFFFF"/>
      </a:dk1>
      <a:lt1>
        <a:srgbClr val="000000"/>
      </a:lt1>
      <a:dk2>
        <a:srgbClr val="FDD1D1"/>
      </a:dk2>
      <a:lt2>
        <a:srgbClr val="154E45"/>
      </a:lt2>
      <a:accent1>
        <a:srgbClr val="009BA2"/>
      </a:accent1>
      <a:accent2>
        <a:srgbClr val="045C6E"/>
      </a:accent2>
      <a:accent3>
        <a:srgbClr val="27234A"/>
      </a:accent3>
      <a:accent4>
        <a:srgbClr val="4D345F"/>
      </a:accent4>
      <a:accent5>
        <a:srgbClr val="AF4E55"/>
      </a:accent5>
      <a:accent6>
        <a:srgbClr val="F7F5F1"/>
      </a:accent6>
      <a:hlink>
        <a:srgbClr val="EFE9DF"/>
      </a:hlink>
      <a:folHlink>
        <a:srgbClr val="E3E3E3"/>
      </a:folHlink>
    </a:clrScheme>
    <a:fontScheme name="Partsrådets typografi">
      <a:majorFont>
        <a:latin typeface="Euclid Circular A"/>
        <a:ea typeface="Helvetica Neue Medium"/>
        <a:cs typeface="Helvetica Neue Medium"/>
      </a:majorFont>
      <a:minorFont>
        <a:latin typeface="Euclid Circular A"/>
        <a:ea typeface="Helvetica Neue Medium"/>
        <a:cs typeface="Helvetica Neue Medium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ln w="12700">
          <a:miter lim="400000"/>
        </a:ln>
        <a:extLst>
          <a:ext uri="{C572A759-6A51-4108-AA02-DFA0A04FC94B}">
            <ma14:wrappingTextBoxFlag xmlns="" xmlns:m="http://schemas.openxmlformats.org/officeDocument/2006/math" xmlns:a14="http://schemas.microsoft.com/office/drawing/2010/main" xmlns:ma14="http://schemas.microsoft.com/office/mac/drawingml/2011/main" xmlns:p="http://schemas.openxmlformats.org/presentationml/2006/main" xmlns:r="http://schemas.openxmlformats.org/officeDocument/2006/relationships" val="1"/>
          </a:ext>
        </a:extLst>
      </a:spPr>
      <a:bodyPr lIns="50800" tIns="50800" rIns="50800" bIns="50800">
        <a:spAutoFit/>
      </a:bodyPr>
      <a:lstStyle>
        <a:defPPr algn="l" defTabSz="457200">
          <a:lnSpc>
            <a:spcPct val="130000"/>
          </a:lnSpc>
          <a:defRPr sz="3200" b="0" dirty="0">
            <a:latin typeface="+mn-lt"/>
            <a:ea typeface="Euclid Circular B Regular"/>
            <a:cs typeface="Euclid Circular B Regular"/>
            <a:sym typeface="Euclid Circular B Regular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artsrådet tema 2021" id="{C395B2C0-01E6-44BE-8B23-1BF314574ED8}" vid="{FFFBE033-FAAD-4C3F-B6F5-B75F66FCE71B}"/>
    </a:ext>
  </a:extLst>
</a:theme>
</file>

<file path=ppt/theme/theme8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5A9D06379BE9E41860F2B3A070264C1" ma:contentTypeVersion="11" ma:contentTypeDescription="Skapa ett nytt dokument." ma:contentTypeScope="" ma:versionID="6b97cb59e0a9b9e96025daa03ac3b3ad">
  <xsd:schema xmlns:xsd="http://www.w3.org/2001/XMLSchema" xmlns:xs="http://www.w3.org/2001/XMLSchema" xmlns:p="http://schemas.microsoft.com/office/2006/metadata/properties" xmlns:ns2="2525e90a-6ab3-4331-a43c-150ec81afa4f" xmlns:ns3="63338ca6-ed78-4330-a5ed-8f48f3572d8e" targetNamespace="http://schemas.microsoft.com/office/2006/metadata/properties" ma:root="true" ma:fieldsID="a47229188c08b5d10c46e0cffa0e5a63" ns2:_="" ns3:_="">
    <xsd:import namespace="2525e90a-6ab3-4331-a43c-150ec81afa4f"/>
    <xsd:import namespace="63338ca6-ed78-4330-a5ed-8f48f3572d8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525e90a-6ab3-4331-a43c-150ec81afa4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338ca6-ed78-4330-a5ed-8f48f3572d8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Dela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lat med information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B678096-23FE-439F-9CEF-74D56670441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61B6553-0CB8-4093-9744-5FB3107DB380}">
  <ds:schemaRefs>
    <ds:schemaRef ds:uri="2525e90a-6ab3-4331-a43c-150ec81afa4f"/>
    <ds:schemaRef ds:uri="63338ca6-ed78-4330-a5ed-8f48f3572d8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4C089472-B967-41C3-B840-3264337FDD42}">
  <ds:schemaRefs>
    <ds:schemaRef ds:uri="http://schemas.microsoft.com/office/2006/metadata/properties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schemas.microsoft.com/office/2006/documentManagement/types"/>
    <ds:schemaRef ds:uri="63338ca6-ed78-4330-a5ed-8f48f3572d8e"/>
    <ds:schemaRef ds:uri="http://purl.org/dc/elements/1.1/"/>
    <ds:schemaRef ds:uri="2525e90a-6ab3-4331-a43c-150ec81afa4f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art_pres_org_171114</Template>
  <TotalTime>13</TotalTime>
  <Words>37</Words>
  <Application>Microsoft Office PowerPoint</Application>
  <PresentationFormat>Bredbild</PresentationFormat>
  <Paragraphs>7</Paragraphs>
  <Slides>1</Slides>
  <Notes>0</Notes>
  <HiddenSlides>0</HiddenSlides>
  <MMClips>0</MMClips>
  <ScaleCrop>false</ScaleCrop>
  <HeadingPairs>
    <vt:vector size="8" baseType="variant">
      <vt:variant>
        <vt:lpstr>Använt teckensnitt</vt:lpstr>
      </vt:variant>
      <vt:variant>
        <vt:i4>7</vt:i4>
      </vt:variant>
      <vt:variant>
        <vt:lpstr>Tema</vt:lpstr>
      </vt:variant>
      <vt:variant>
        <vt:i4>7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</vt:i4>
      </vt:variant>
    </vt:vector>
  </HeadingPairs>
  <TitlesOfParts>
    <vt:vector size="16" baseType="lpstr">
      <vt:lpstr>Arial</vt:lpstr>
      <vt:lpstr>Calibri</vt:lpstr>
      <vt:lpstr>Euclid Circular A</vt:lpstr>
      <vt:lpstr>Euclid Circular B Regular</vt:lpstr>
      <vt:lpstr>Euclid Circular B SemiBold</vt:lpstr>
      <vt:lpstr>Helvetica Neue</vt:lpstr>
      <vt:lpstr>Helvetica Neue Medium</vt:lpstr>
      <vt:lpstr>Partsrådet v 2.0</vt:lpstr>
      <vt:lpstr>1_Svart text</vt:lpstr>
      <vt:lpstr>1_Partsrådet v 2.0</vt:lpstr>
      <vt:lpstr>2_Svart text</vt:lpstr>
      <vt:lpstr>2_Partsrådet v 2.0</vt:lpstr>
      <vt:lpstr>3_Svart text</vt:lpstr>
      <vt:lpstr>Partsrådet tema 2021</vt:lpstr>
      <vt:lpstr>think-cell Slide</vt:lpstr>
      <vt:lpstr>PowerPoint-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_FTT_Hållbart arbetsliv_Partsrådet.pptx</dc:title>
  <dc:subject/>
  <dc:creator>Cecilia Berninger</dc:creator>
  <cp:keywords/>
  <dc:description/>
  <cp:lastModifiedBy>Charlotta Linse</cp:lastModifiedBy>
  <cp:revision>2</cp:revision>
  <cp:lastPrinted>2020-01-30T08:25:39Z</cp:lastPrinted>
  <dcterms:created xsi:type="dcterms:W3CDTF">2017-11-23T21:09:38Z</dcterms:created>
  <dcterms:modified xsi:type="dcterms:W3CDTF">2022-01-14T13:41:11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5A9D06379BE9E41860F2B3A070264C1</vt:lpwstr>
  </property>
</Properties>
</file>